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3.xml" ContentType="application/vnd.openxmlformats-officedocument.them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8" r:id="rId5"/>
    <p:sldMasterId id="2147483736" r:id="rId6"/>
  </p:sldMasterIdLst>
  <p:notesMasterIdLst>
    <p:notesMasterId r:id="rId16"/>
  </p:notesMasterIdLst>
  <p:sldIdLst>
    <p:sldId id="258" r:id="rId7"/>
    <p:sldId id="755" r:id="rId8"/>
    <p:sldId id="759" r:id="rId9"/>
    <p:sldId id="767" r:id="rId10"/>
    <p:sldId id="760" r:id="rId11"/>
    <p:sldId id="766" r:id="rId12"/>
    <p:sldId id="762" r:id="rId13"/>
    <p:sldId id="763" r:id="rId14"/>
    <p:sldId id="765" r:id="rId15"/>
  </p:sldIdLst>
  <p:sldSz cx="12192000" cy="6858000"/>
  <p:notesSz cx="6805613" cy="99441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636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slides/slide2.xml" Id="rId8" /><Relationship Type="http://schemas.openxmlformats.org/officeDocument/2006/relationships/slide" Target="slides/slide7.xml" Id="rId13" /><Relationship Type="http://schemas.openxmlformats.org/officeDocument/2006/relationships/viewProps" Target="viewProps.xml" Id="rId18" /><Relationship Type="http://schemas.openxmlformats.org/officeDocument/2006/relationships/slide" Target="slides/slide1.xml" Id="rId7" /><Relationship Type="http://schemas.openxmlformats.org/officeDocument/2006/relationships/slide" Target="slides/slide6.xml" Id="rId12" /><Relationship Type="http://schemas.openxmlformats.org/officeDocument/2006/relationships/presProps" Target="presProps.xml" Id="rId17" /><Relationship Type="http://schemas.openxmlformats.org/officeDocument/2006/relationships/notesMaster" Target="notesMasters/notesMaster1.xml" Id="rId16" /><Relationship Type="http://schemas.openxmlformats.org/officeDocument/2006/relationships/tableStyles" Target="tableStyles.xml" Id="rId20" /><Relationship Type="http://schemas.openxmlformats.org/officeDocument/2006/relationships/slideMaster" Target="slideMasters/slideMaster3.xml" Id="rId6" /><Relationship Type="http://schemas.openxmlformats.org/officeDocument/2006/relationships/slide" Target="slides/slide5.xml" Id="rId11" /><Relationship Type="http://schemas.openxmlformats.org/officeDocument/2006/relationships/slideMaster" Target="slideMasters/slideMaster2.xml" Id="rId5" /><Relationship Type="http://schemas.openxmlformats.org/officeDocument/2006/relationships/slide" Target="slides/slide9.xml" Id="rId15" /><Relationship Type="http://schemas.openxmlformats.org/officeDocument/2006/relationships/slide" Target="slides/slide4.xml" Id="rId10" /><Relationship Type="http://schemas.openxmlformats.org/officeDocument/2006/relationships/theme" Target="theme/theme1.xml" Id="rId19" /><Relationship Type="http://schemas.openxmlformats.org/officeDocument/2006/relationships/slideMaster" Target="slideMasters/slideMaster1.xml" Id="rId4" /><Relationship Type="http://schemas.openxmlformats.org/officeDocument/2006/relationships/slide" Target="slides/slide3.xml" Id="rId9" /><Relationship Type="http://schemas.openxmlformats.org/officeDocument/2006/relationships/slide" Target="slides/slide8.xml" Id="rId14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D7AFC-C020-4AA2-8CB0-0AC9DE2B9BB6}" type="datetimeFigureOut">
              <a:rPr lang="nl-NL" smtClean="0"/>
              <a:t>21-3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C3302E-BAB4-49D0-8642-949B99E37EB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782410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Tijdelijke aanduiding voor dia-afbeelding 1">
            <a:extLst>
              <a:ext uri="{FF2B5EF4-FFF2-40B4-BE49-F238E27FC236}">
                <a16:creationId xmlns:a16="http://schemas.microsoft.com/office/drawing/2014/main" id="{65D47775-55F3-7CFE-228B-97F042E88E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8243" name="Tijdelijke aanduiding voor notities 2">
            <a:extLst>
              <a:ext uri="{FF2B5EF4-FFF2-40B4-BE49-F238E27FC236}">
                <a16:creationId xmlns:a16="http://schemas.microsoft.com/office/drawing/2014/main" id="{DBCD3024-333F-AD38-CD5A-60620DFD059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  <p:sp>
        <p:nvSpPr>
          <p:cNvPr id="138244" name="Tijdelijke aanduiding voor dianummer 3">
            <a:extLst>
              <a:ext uri="{FF2B5EF4-FFF2-40B4-BE49-F238E27FC236}">
                <a16:creationId xmlns:a16="http://schemas.microsoft.com/office/drawing/2014/main" id="{FDC4B370-1190-FE85-8BEF-EE4CC2A169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363" indent="-2841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4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86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58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30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02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74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46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387016C-ADC3-4816-8315-BDB08308F6CD}" type="slidenum">
              <a:rPr kumimoji="0" lang="nl-NL" alt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alt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9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A5604754-B728-618E-A56D-45216A318E94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5" name="Afbeelding 9">
            <a:extLst>
              <a:ext uri="{FF2B5EF4-FFF2-40B4-BE49-F238E27FC236}">
                <a16:creationId xmlns:a16="http://schemas.microsoft.com/office/drawing/2014/main" id="{9A53D855-6619-DDF0-6681-388A475421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554588" y="1882800"/>
            <a:ext cx="5004000" cy="2336400"/>
          </a:xfrm>
        </p:spPr>
        <p:txBody>
          <a:bodyPr tIns="90000" bIns="9000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554588" y="4215600"/>
            <a:ext cx="5004000" cy="133920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504253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35000" y="2276475"/>
            <a:ext cx="5226050" cy="39449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553199" y="2276475"/>
            <a:ext cx="5004000" cy="39449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5" name="Tijdelijke aanduiding voor datum 3">
            <a:extLst>
              <a:ext uri="{FF2B5EF4-FFF2-40B4-BE49-F238E27FC236}">
                <a16:creationId xmlns:a16="http://schemas.microsoft.com/office/drawing/2014/main" id="{C425510D-F536-33BC-1F63-D9CC47EC1B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4">
            <a:extLst>
              <a:ext uri="{FF2B5EF4-FFF2-40B4-BE49-F238E27FC236}">
                <a16:creationId xmlns:a16="http://schemas.microsoft.com/office/drawing/2014/main" id="{AA71E519-74F9-7C62-4607-A536FBF8C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108C6730-C520-5A2F-A78D-FDD1046B59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D9718A-AB16-4FB5-B8D4-0194FC25FBAC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0703290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. kleur zonder tit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720000" tIns="1152000">
            <a:noAutofit/>
          </a:bodyPr>
          <a:lstStyle>
            <a:lvl1pPr>
              <a:tabLst>
                <a:tab pos="1619210" algn="l"/>
              </a:tabLs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1" y="3888000"/>
            <a:ext cx="10923588" cy="2333413"/>
          </a:xfrm>
        </p:spPr>
        <p:txBody>
          <a:bodyPr tIns="50400"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7">
            <a:extLst>
              <a:ext uri="{FF2B5EF4-FFF2-40B4-BE49-F238E27FC236}">
                <a16:creationId xmlns:a16="http://schemas.microsoft.com/office/drawing/2014/main" id="{34DD3BAE-EC7F-1D19-281D-835F337BF1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8">
            <a:extLst>
              <a:ext uri="{FF2B5EF4-FFF2-40B4-BE49-F238E27FC236}">
                <a16:creationId xmlns:a16="http://schemas.microsoft.com/office/drawing/2014/main" id="{C2F46EF5-5518-E736-7348-EAA39D8FE1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9">
            <a:extLst>
              <a:ext uri="{FF2B5EF4-FFF2-40B4-BE49-F238E27FC236}">
                <a16:creationId xmlns:a16="http://schemas.microsoft.com/office/drawing/2014/main" id="{4044219B-D59A-3D6D-FD22-156E96CD6B5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9F310E4-3C09-4626-98BA-CBDC8F1E9437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248477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. wit zond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115200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1" y="3888000"/>
            <a:ext cx="10923588" cy="2333413"/>
          </a:xfrm>
        </p:spPr>
        <p:txBody>
          <a:bodyPr tIns="50400"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64C47ED4-5E94-CA7D-D43E-7CBF99DCD7B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4">
            <a:extLst>
              <a:ext uri="{FF2B5EF4-FFF2-40B4-BE49-F238E27FC236}">
                <a16:creationId xmlns:a16="http://schemas.microsoft.com/office/drawing/2014/main" id="{758C622F-4415-FDD0-A064-B66007BF129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5">
            <a:extLst>
              <a:ext uri="{FF2B5EF4-FFF2-40B4-BE49-F238E27FC236}">
                <a16:creationId xmlns:a16="http://schemas.microsoft.com/office/drawing/2014/main" id="{C48C0897-A553-6B6B-7C3F-EF55112D80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A422D1-B846-4601-8FF4-FA0F7C4C9414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213329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kleur tit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0" y="3427413"/>
            <a:ext cx="12192000" cy="3430587"/>
          </a:xfrm>
          <a:custGeom>
            <a:avLst/>
            <a:gdLst>
              <a:gd name="connsiteX0" fmla="*/ 0 w 12192000"/>
              <a:gd name="connsiteY0" fmla="*/ 0 h 3430587"/>
              <a:gd name="connsiteX1" fmla="*/ 12192000 w 12192000"/>
              <a:gd name="connsiteY1" fmla="*/ 0 h 3430587"/>
              <a:gd name="connsiteX2" fmla="*/ 12192000 w 12192000"/>
              <a:gd name="connsiteY2" fmla="*/ 3430587 h 3430587"/>
              <a:gd name="connsiteX3" fmla="*/ 6330000 w 12192000"/>
              <a:gd name="connsiteY3" fmla="*/ 3430587 h 3430587"/>
              <a:gd name="connsiteX4" fmla="*/ 6330000 w 12192000"/>
              <a:gd name="connsiteY4" fmla="*/ 3192987 h 3430587"/>
              <a:gd name="connsiteX5" fmla="*/ 5862000 w 12192000"/>
              <a:gd name="connsiteY5" fmla="*/ 3192987 h 3430587"/>
              <a:gd name="connsiteX6" fmla="*/ 5862000 w 12192000"/>
              <a:gd name="connsiteY6" fmla="*/ 3430587 h 3430587"/>
              <a:gd name="connsiteX7" fmla="*/ 0 w 12192000"/>
              <a:gd name="connsiteY7" fmla="*/ 3430587 h 3430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30587">
                <a:moveTo>
                  <a:pt x="0" y="0"/>
                </a:moveTo>
                <a:lnTo>
                  <a:pt x="12192000" y="0"/>
                </a:lnTo>
                <a:lnTo>
                  <a:pt x="12192000" y="3430587"/>
                </a:lnTo>
                <a:lnTo>
                  <a:pt x="6330000" y="3430587"/>
                </a:lnTo>
                <a:lnTo>
                  <a:pt x="6330000" y="3192987"/>
                </a:lnTo>
                <a:lnTo>
                  <a:pt x="5862000" y="3192987"/>
                </a:lnTo>
                <a:lnTo>
                  <a:pt x="5862000" y="3430587"/>
                </a:lnTo>
                <a:lnTo>
                  <a:pt x="0" y="3430587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61200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3601" y="1051200"/>
            <a:ext cx="10924383" cy="9468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datum 12">
            <a:extLst>
              <a:ext uri="{FF2B5EF4-FFF2-40B4-BE49-F238E27FC236}">
                <a16:creationId xmlns:a16="http://schemas.microsoft.com/office/drawing/2014/main" id="{861C185D-34CB-C895-58AB-C2767998546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13">
            <a:extLst>
              <a:ext uri="{FF2B5EF4-FFF2-40B4-BE49-F238E27FC236}">
                <a16:creationId xmlns:a16="http://schemas.microsoft.com/office/drawing/2014/main" id="{8E018489-F485-1771-75CA-68571590D2E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14">
            <a:extLst>
              <a:ext uri="{FF2B5EF4-FFF2-40B4-BE49-F238E27FC236}">
                <a16:creationId xmlns:a16="http://schemas.microsoft.com/office/drawing/2014/main" id="{F9C06DD7-051F-0A32-BCBC-B16ACFA4C7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77B032D4-B855-45C0-9489-364E816999F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289089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w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0" y="3427413"/>
            <a:ext cx="12192000" cy="3430587"/>
          </a:xfrm>
          <a:custGeom>
            <a:avLst/>
            <a:gdLst>
              <a:gd name="connsiteX0" fmla="*/ 0 w 12192000"/>
              <a:gd name="connsiteY0" fmla="*/ 0 h 3430587"/>
              <a:gd name="connsiteX1" fmla="*/ 12192000 w 12192000"/>
              <a:gd name="connsiteY1" fmla="*/ 0 h 3430587"/>
              <a:gd name="connsiteX2" fmla="*/ 12192000 w 12192000"/>
              <a:gd name="connsiteY2" fmla="*/ 3430587 h 3430587"/>
              <a:gd name="connsiteX3" fmla="*/ 6330000 w 12192000"/>
              <a:gd name="connsiteY3" fmla="*/ 3430587 h 3430587"/>
              <a:gd name="connsiteX4" fmla="*/ 6330000 w 12192000"/>
              <a:gd name="connsiteY4" fmla="*/ 3192987 h 3430587"/>
              <a:gd name="connsiteX5" fmla="*/ 5862000 w 12192000"/>
              <a:gd name="connsiteY5" fmla="*/ 3192987 h 3430587"/>
              <a:gd name="connsiteX6" fmla="*/ 5862000 w 12192000"/>
              <a:gd name="connsiteY6" fmla="*/ 3430587 h 3430587"/>
              <a:gd name="connsiteX7" fmla="*/ 0 w 12192000"/>
              <a:gd name="connsiteY7" fmla="*/ 3430587 h 3430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30587">
                <a:moveTo>
                  <a:pt x="0" y="0"/>
                </a:moveTo>
                <a:lnTo>
                  <a:pt x="12192000" y="0"/>
                </a:lnTo>
                <a:lnTo>
                  <a:pt x="12192000" y="3430587"/>
                </a:lnTo>
                <a:lnTo>
                  <a:pt x="6330000" y="3430587"/>
                </a:lnTo>
                <a:lnTo>
                  <a:pt x="6330000" y="3192987"/>
                </a:lnTo>
                <a:lnTo>
                  <a:pt x="5862000" y="3192987"/>
                </a:lnTo>
                <a:lnTo>
                  <a:pt x="5862000" y="3430587"/>
                </a:lnTo>
                <a:lnTo>
                  <a:pt x="0" y="3430587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</p:spPr>
        <p:txBody>
          <a:bodyPr wrap="square" lIns="61200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634206" y="1051200"/>
            <a:ext cx="10924383" cy="946800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2" name="Tijdelijke aanduiding voor datum 4">
            <a:extLst>
              <a:ext uri="{FF2B5EF4-FFF2-40B4-BE49-F238E27FC236}">
                <a16:creationId xmlns:a16="http://schemas.microsoft.com/office/drawing/2014/main" id="{ABB8919B-0C93-C437-C489-143CFE84C35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5">
            <a:extLst>
              <a:ext uri="{FF2B5EF4-FFF2-40B4-BE49-F238E27FC236}">
                <a16:creationId xmlns:a16="http://schemas.microsoft.com/office/drawing/2014/main" id="{C4D0A639-1D23-D84D-0B1D-076180BA02B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6">
            <a:extLst>
              <a:ext uri="{FF2B5EF4-FFF2-40B4-BE49-F238E27FC236}">
                <a16:creationId xmlns:a16="http://schemas.microsoft.com/office/drawing/2014/main" id="{5E050D26-9427-6D1B-24B0-1D363CBB52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24099B-BC39-4225-B2A5-FDF0BF5DB7F0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653878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499569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met tite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8">
            <a:extLst>
              <a:ext uri="{FF2B5EF4-FFF2-40B4-BE49-F238E27FC236}">
                <a16:creationId xmlns:a16="http://schemas.microsoft.com/office/drawing/2014/main" id="{3A2F341F-6C10-0AA6-F41A-1DC35381CD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0" y="5153776"/>
            <a:ext cx="12192000" cy="576000"/>
          </a:xfrm>
          <a:solidFill>
            <a:schemeClr val="tx2"/>
          </a:solidFill>
        </p:spPr>
        <p:txBody>
          <a:bodyPr lIns="756000" anchor="ctr">
            <a:no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0" y="5825413"/>
            <a:ext cx="12192000" cy="396000"/>
          </a:xfrm>
          <a:solidFill>
            <a:schemeClr val="bg1"/>
          </a:solidFill>
        </p:spPr>
        <p:txBody>
          <a:bodyPr lIns="756000" anchor="ctr" anchorCtr="0"/>
          <a:lstStyle>
            <a:lvl1pPr marL="0" indent="0">
              <a:buNone/>
              <a:defRPr sz="2000" i="0">
                <a:solidFill>
                  <a:schemeClr val="tx1"/>
                </a:solidFill>
              </a:defRPr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8797944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3"/>
          </p:nvPr>
        </p:nvSpPr>
        <p:spPr>
          <a:xfrm>
            <a:off x="635001" y="2276475"/>
            <a:ext cx="10923588" cy="394493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81275D80-3603-C5AF-231E-6D8F3D76E38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F218EC3B-572F-5541-97DC-E5785E50D9C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1510950A-1A8B-3D87-46B5-B53236A08D5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60DF80-A6BD-4A85-A325-EEA79380AE94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76099796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4"/>
          </p:nvPr>
        </p:nvSpPr>
        <p:spPr>
          <a:xfrm>
            <a:off x="7958859" y="2276475"/>
            <a:ext cx="3600000" cy="3937000"/>
          </a:xfrm>
        </p:spPr>
        <p:txBody>
          <a:bodyPr/>
          <a:lstStyle>
            <a:lvl1pPr marL="0" indent="0">
              <a:buNone/>
              <a:defRPr sz="2000"/>
            </a:lvl1pPr>
            <a:lvl2pPr marL="313192" indent="0">
              <a:buNone/>
              <a:defRPr sz="1800"/>
            </a:lvl2pPr>
            <a:lvl3pPr marL="629984" indent="0">
              <a:buNone/>
              <a:defRPr sz="1600"/>
            </a:lvl3pPr>
            <a:lvl4pPr marL="943176" indent="0">
              <a:buNone/>
              <a:defRPr sz="1600"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9" name="Tijdelijke aanduiding voor inhoud 8"/>
          <p:cNvSpPr>
            <a:spLocks noGrp="1"/>
          </p:cNvSpPr>
          <p:nvPr>
            <p:ph sz="quarter" idx="15"/>
          </p:nvPr>
        </p:nvSpPr>
        <p:spPr>
          <a:xfrm>
            <a:off x="635001" y="2276475"/>
            <a:ext cx="7178964" cy="394493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6525209A-8419-149C-6C02-193B1FD2E18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430B9E1C-BAEB-9F37-9C6A-2341F06981E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27185AAE-112A-2ACC-2634-2E97F21F106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B7CFD4-1079-4A58-B12F-FEF9C3EB6F5A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22997277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FCC80C87-F9F1-942A-221D-5D3A43BF4A1A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208A6545-187D-A4E4-22B1-14320528B6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1455B67F-6B84-5C1F-1B78-DCA580B893F0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4"/>
          </p:nvPr>
        </p:nvSpPr>
        <p:spPr>
          <a:xfrm>
            <a:off x="6550024" y="2289599"/>
            <a:ext cx="5004000" cy="3931813"/>
          </a:xfrm>
        </p:spPr>
        <p:txBody>
          <a:bodyPr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50024" y="1051202"/>
            <a:ext cx="5004000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9" name="Tijdelijke aanduiding voor inhoud 8"/>
          <p:cNvSpPr>
            <a:spLocks noGrp="1"/>
          </p:cNvSpPr>
          <p:nvPr>
            <p:ph sz="quarter" idx="19"/>
          </p:nvPr>
        </p:nvSpPr>
        <p:spPr>
          <a:xfrm>
            <a:off x="635000" y="1066800"/>
            <a:ext cx="5003800" cy="51546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datum 13">
            <a:extLst>
              <a:ext uri="{FF2B5EF4-FFF2-40B4-BE49-F238E27FC236}">
                <a16:creationId xmlns:a16="http://schemas.microsoft.com/office/drawing/2014/main" id="{DC4EEC01-CC81-60EC-EE9A-8FC732A98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4">
            <a:extLst>
              <a:ext uri="{FF2B5EF4-FFF2-40B4-BE49-F238E27FC236}">
                <a16:creationId xmlns:a16="http://schemas.microsoft.com/office/drawing/2014/main" id="{CB2B72D8-1014-6DA4-0AB2-08938E391CA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5">
            <a:extLst>
              <a:ext uri="{FF2B5EF4-FFF2-40B4-BE49-F238E27FC236}">
                <a16:creationId xmlns:a16="http://schemas.microsoft.com/office/drawing/2014/main" id="{9A2119BA-B1DA-FA3A-0B79-8B99CE6E9C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357EDC-F670-477D-B346-B782B0D8A266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14701840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5F80DF28-3CA6-5BEF-65AB-33CE74AAE39D}"/>
              </a:ext>
            </a:extLst>
          </p:cNvPr>
          <p:cNvSpPr/>
          <p:nvPr userDrawn="1"/>
        </p:nvSpPr>
        <p:spPr>
          <a:xfrm>
            <a:off x="0" y="0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36EB603F-39B4-86F0-BEF6-6EF77C9EA67A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15">
            <a:extLst>
              <a:ext uri="{FF2B5EF4-FFF2-40B4-BE49-F238E27FC236}">
                <a16:creationId xmlns:a16="http://schemas.microsoft.com/office/drawing/2014/main" id="{0AE0A71E-86E4-2C31-5145-1B40596928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1" y="1875618"/>
            <a:ext cx="10923588" cy="1551796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5156753" y="3846023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/>
          </p:nvPr>
        </p:nvSpPr>
        <p:spPr>
          <a:xfrm>
            <a:off x="5156753" y="4639510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/>
          </p:nvPr>
        </p:nvSpPr>
        <p:spPr>
          <a:xfrm>
            <a:off x="5156753" y="5405529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4544781" y="3921367"/>
            <a:ext cx="541203" cy="54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4544781" y="4707383"/>
            <a:ext cx="541203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4544781" y="5480872"/>
            <a:ext cx="541203" cy="540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6">
            <a:extLst>
              <a:ext uri="{FF2B5EF4-FFF2-40B4-BE49-F238E27FC236}">
                <a16:creationId xmlns:a16="http://schemas.microsoft.com/office/drawing/2014/main" id="{602B13B8-BB67-0BCE-4E63-3677BE7F7C8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7">
            <a:extLst>
              <a:ext uri="{FF2B5EF4-FFF2-40B4-BE49-F238E27FC236}">
                <a16:creationId xmlns:a16="http://schemas.microsoft.com/office/drawing/2014/main" id="{D2F97DE4-9DCF-9138-F2AA-10D253EA2F7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8">
            <a:extLst>
              <a:ext uri="{FF2B5EF4-FFF2-40B4-BE49-F238E27FC236}">
                <a16:creationId xmlns:a16="http://schemas.microsoft.com/office/drawing/2014/main" id="{3F99748F-CEB2-483C-7146-C3369FC00A3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EDB7F3-D5E6-43D0-8D90-27C3AFFD728A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4231925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5001" y="2306037"/>
            <a:ext cx="5004000" cy="648000"/>
          </a:xfrm>
          <a:noFill/>
        </p:spPr>
        <p:txBody>
          <a:bodyPr lIns="180000" tIns="180000" rIns="180000" bIns="72000" anchor="b">
            <a:no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35001" y="2953738"/>
            <a:ext cx="5004000" cy="3267676"/>
          </a:xfrm>
          <a:noFill/>
        </p:spPr>
        <p:txBody>
          <a:bodyPr lIns="180000" tIns="180000" rIns="180000" bIns="72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553200" y="2306037"/>
            <a:ext cx="5004000" cy="647228"/>
          </a:xfrm>
          <a:noFill/>
        </p:spPr>
        <p:txBody>
          <a:bodyPr lIns="180000" tIns="180000" rIns="180000" bIns="72000" anchor="b">
            <a:no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553200" y="2953738"/>
            <a:ext cx="5005388" cy="3267676"/>
          </a:xfrm>
          <a:noFill/>
        </p:spPr>
        <p:txBody>
          <a:bodyPr lIns="180000" tIns="180000" rIns="180000" bIns="72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E4A80CDB-1AE4-42AE-0828-F199C1F75F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4">
            <a:extLst>
              <a:ext uri="{FF2B5EF4-FFF2-40B4-BE49-F238E27FC236}">
                <a16:creationId xmlns:a16="http://schemas.microsoft.com/office/drawing/2014/main" id="{C34E0F65-4D6F-14E7-8108-76986DFD2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5">
            <a:extLst>
              <a:ext uri="{FF2B5EF4-FFF2-40B4-BE49-F238E27FC236}">
                <a16:creationId xmlns:a16="http://schemas.microsoft.com/office/drawing/2014/main" id="{E2C127F2-942F-2AFE-B085-6ED99EBFFE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A921EB-F677-4278-A481-533D73ACCF21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2646417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B1186564-F6A2-2853-E0AA-2D8682259B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1FA4813A-C4FF-0B30-255D-69B573452455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15">
            <a:extLst>
              <a:ext uri="{FF2B5EF4-FFF2-40B4-BE49-F238E27FC236}">
                <a16:creationId xmlns:a16="http://schemas.microsoft.com/office/drawing/2014/main" id="{21B8AE48-272E-C843-EFFE-46AA685F7C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2565400"/>
            <a:ext cx="5003800" cy="1727200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7176286" y="2286001"/>
            <a:ext cx="4382303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/>
          </p:nvPr>
        </p:nvSpPr>
        <p:spPr>
          <a:xfrm>
            <a:off x="7176286" y="3079487"/>
            <a:ext cx="4382303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/>
          </p:nvPr>
        </p:nvSpPr>
        <p:spPr>
          <a:xfrm>
            <a:off x="7176286" y="3845507"/>
            <a:ext cx="4382303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6564313" y="2361344"/>
            <a:ext cx="541203" cy="54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6564313" y="3147360"/>
            <a:ext cx="541203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6564313" y="3920851"/>
            <a:ext cx="541203" cy="540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6">
            <a:extLst>
              <a:ext uri="{FF2B5EF4-FFF2-40B4-BE49-F238E27FC236}">
                <a16:creationId xmlns:a16="http://schemas.microsoft.com/office/drawing/2014/main" id="{BF3CC4B9-2882-0D49-EC67-DBB1F1D15016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7">
            <a:extLst>
              <a:ext uri="{FF2B5EF4-FFF2-40B4-BE49-F238E27FC236}">
                <a16:creationId xmlns:a16="http://schemas.microsoft.com/office/drawing/2014/main" id="{9A0B4DAD-3972-9E11-B484-5F3514259BB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8">
            <a:extLst>
              <a:ext uri="{FF2B5EF4-FFF2-40B4-BE49-F238E27FC236}">
                <a16:creationId xmlns:a16="http://schemas.microsoft.com/office/drawing/2014/main" id="{FF1E7362-1B2D-0609-E83B-F068FBAC811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3C0ED2-F835-404E-9DE2-7E92D4A3408A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99171048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17976374-0E33-23CC-0919-05222E725779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3E823C9F-6684-C80D-F268-1B690DEE9C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1" y="1875617"/>
            <a:ext cx="10923588" cy="1551795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4224313" y="3846023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/>
          </p:nvPr>
        </p:nvSpPr>
        <p:spPr>
          <a:xfrm>
            <a:off x="4224313" y="4639510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/>
          </p:nvPr>
        </p:nvSpPr>
        <p:spPr>
          <a:xfrm>
            <a:off x="4224313" y="5405529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3612341" y="3921367"/>
            <a:ext cx="541203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3612341" y="4707383"/>
            <a:ext cx="541203" cy="540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3612341" y="5480872"/>
            <a:ext cx="541203" cy="5400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5" name="Tijdelijke aanduiding voor datum 5">
            <a:extLst>
              <a:ext uri="{FF2B5EF4-FFF2-40B4-BE49-F238E27FC236}">
                <a16:creationId xmlns:a16="http://schemas.microsoft.com/office/drawing/2014/main" id="{9369C7F0-7B31-32AA-DCAF-5C4BDFD536D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6">
            <a:extLst>
              <a:ext uri="{FF2B5EF4-FFF2-40B4-BE49-F238E27FC236}">
                <a16:creationId xmlns:a16="http://schemas.microsoft.com/office/drawing/2014/main" id="{0EBA7918-7791-C07C-553B-9C15CA15CD8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7">
            <a:extLst>
              <a:ext uri="{FF2B5EF4-FFF2-40B4-BE49-F238E27FC236}">
                <a16:creationId xmlns:a16="http://schemas.microsoft.com/office/drawing/2014/main" id="{B35303A1-6BB1-6B6C-0747-28E62618C0C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5536B20-4255-4A23-B373-2C7B0B124584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0098326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datum 3">
            <a:extLst>
              <a:ext uri="{FF2B5EF4-FFF2-40B4-BE49-F238E27FC236}">
                <a16:creationId xmlns:a16="http://schemas.microsoft.com/office/drawing/2014/main" id="{AC4BA9CD-C1EA-3AB4-3AE0-5772EC171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5D154D73-DF89-6241-87E7-85808C0B9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03BB55B6-03D2-289B-017E-768E3B775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A38551-79A6-4273-A25B-4D34923D2AD3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311847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11C4BD33-2083-7261-C54C-A792A15273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4">
            <a:extLst>
              <a:ext uri="{FF2B5EF4-FFF2-40B4-BE49-F238E27FC236}">
                <a16:creationId xmlns:a16="http://schemas.microsoft.com/office/drawing/2014/main" id="{613AE9CF-372A-F257-6762-57A4D0CD0B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5">
            <a:extLst>
              <a:ext uri="{FF2B5EF4-FFF2-40B4-BE49-F238E27FC236}">
                <a16:creationId xmlns:a16="http://schemas.microsoft.com/office/drawing/2014/main" id="{EEE0F6F5-FDFC-9DAA-8DF0-54FA1B74A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85FDAB-0CBC-41E9-ACF0-3261ECF021BF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2015852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635000" y="3427413"/>
            <a:ext cx="5003800" cy="2793999"/>
          </a:xfrm>
        </p:spPr>
        <p:txBody>
          <a:bodyPr anchor="t" anchorCtr="0"/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ijdelijke aanduiding voor inhoud 9"/>
          <p:cNvSpPr>
            <a:spLocks noGrp="1"/>
          </p:cNvSpPr>
          <p:nvPr>
            <p:ph sz="quarter" idx="13"/>
          </p:nvPr>
        </p:nvSpPr>
        <p:spPr>
          <a:xfrm>
            <a:off x="6554588" y="1052513"/>
            <a:ext cx="5004000" cy="51689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35000" y="1052513"/>
            <a:ext cx="5003800" cy="948047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90FD36FA-0489-1C78-EBE7-1D75555185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863F412-F7A0-B0D0-4930-4FEB1CC45C2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BEAA544-F0B1-33B9-A20C-1D97E2E4E3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D8C46C-43F3-42AD-BE75-DB02103C7C82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9473968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te tekst 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5000" y="1052514"/>
            <a:ext cx="10923588" cy="4024800"/>
          </a:xfrm>
        </p:spPr>
        <p:txBody>
          <a:bodyPr>
            <a:normAutofit/>
          </a:bodyPr>
          <a:lstStyle>
            <a:lvl1pPr algn="l"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Ondertitel 2"/>
          <p:cNvSpPr>
            <a:spLocks noGrp="1"/>
          </p:cNvSpPr>
          <p:nvPr>
            <p:ph type="subTitle" idx="1"/>
          </p:nvPr>
        </p:nvSpPr>
        <p:spPr>
          <a:xfrm>
            <a:off x="635000" y="5077315"/>
            <a:ext cx="5461000" cy="1144098"/>
          </a:xfrm>
        </p:spPr>
        <p:txBody>
          <a:bodyPr lIns="162000" tIns="90000" rIns="90000"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2" name="Tijdelijke aanduiding voor datum 8">
            <a:extLst>
              <a:ext uri="{FF2B5EF4-FFF2-40B4-BE49-F238E27FC236}">
                <a16:creationId xmlns:a16="http://schemas.microsoft.com/office/drawing/2014/main" id="{D8F73FFF-F51E-DF30-3503-0C9A588FAE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9">
            <a:extLst>
              <a:ext uri="{FF2B5EF4-FFF2-40B4-BE49-F238E27FC236}">
                <a16:creationId xmlns:a16="http://schemas.microsoft.com/office/drawing/2014/main" id="{AF0F4299-DB57-DDBF-DDBC-276150C9ED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10">
            <a:extLst>
              <a:ext uri="{FF2B5EF4-FFF2-40B4-BE49-F238E27FC236}">
                <a16:creationId xmlns:a16="http://schemas.microsoft.com/office/drawing/2014/main" id="{A17A3A61-7124-20F4-BFF1-369CCB78C0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86F38BF-172D-42AA-9C22-23E9D561FCF4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28299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te teks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5000" y="1052514"/>
            <a:ext cx="10923588" cy="4024800"/>
          </a:xfrm>
        </p:spPr>
        <p:txBody>
          <a:bodyPr>
            <a:normAutofit/>
          </a:bodyPr>
          <a:lstStyle>
            <a:lvl1pPr algn="l"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Ondertitel 2"/>
          <p:cNvSpPr>
            <a:spLocks noGrp="1"/>
          </p:cNvSpPr>
          <p:nvPr>
            <p:ph type="subTitle" idx="1"/>
          </p:nvPr>
        </p:nvSpPr>
        <p:spPr>
          <a:xfrm>
            <a:off x="635000" y="5077314"/>
            <a:ext cx="5461000" cy="1144099"/>
          </a:xfrm>
        </p:spPr>
        <p:txBody>
          <a:bodyPr lIns="162000" tIns="90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2" name="Tijdelijke aanduiding voor datum 5">
            <a:extLst>
              <a:ext uri="{FF2B5EF4-FFF2-40B4-BE49-F238E27FC236}">
                <a16:creationId xmlns:a16="http://schemas.microsoft.com/office/drawing/2014/main" id="{A25C358D-ADC5-69AA-596E-B05E5AD7A3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6">
            <a:extLst>
              <a:ext uri="{FF2B5EF4-FFF2-40B4-BE49-F238E27FC236}">
                <a16:creationId xmlns:a16="http://schemas.microsoft.com/office/drawing/2014/main" id="{B081193F-01E2-6861-4940-8C46E3A7A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7">
            <a:extLst>
              <a:ext uri="{FF2B5EF4-FFF2-40B4-BE49-F238E27FC236}">
                <a16:creationId xmlns:a16="http://schemas.microsoft.com/office/drawing/2014/main" id="{C5E25321-E66F-8B8A-DE31-096921019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892FD6-31A9-4CCC-A275-733F2BCFC573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655614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vlak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B9529F99-DDDE-0BD2-6753-75BDE9C2D3AD}"/>
              </a:ext>
            </a:extLst>
          </p:cNvPr>
          <p:cNvSpPr/>
          <p:nvPr userDrawn="1"/>
        </p:nvSpPr>
        <p:spPr>
          <a:xfrm>
            <a:off x="6096000" y="-1588"/>
            <a:ext cx="6096000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nl-NL" sz="1000">
              <a:solidFill>
                <a:schemeClr val="bg1"/>
              </a:solidFill>
            </a:endParaRPr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5EB24BC8-D87D-6DD2-CCAF-F2654384FF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F178073D-01AB-3F34-CFC0-B0831DAC9FAD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35000" y="2636838"/>
            <a:ext cx="5003799" cy="1584324"/>
          </a:xfrm>
        </p:spPr>
        <p:txBody>
          <a:bodyPr anchor="ctr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6554588" y="1066800"/>
            <a:ext cx="5004000" cy="5154613"/>
          </a:xfrm>
        </p:spPr>
        <p:txBody>
          <a:bodyPr anchor="ctr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10">
            <a:extLst>
              <a:ext uri="{FF2B5EF4-FFF2-40B4-BE49-F238E27FC236}">
                <a16:creationId xmlns:a16="http://schemas.microsoft.com/office/drawing/2014/main" id="{F6199148-AA20-5266-B958-6268FFC608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voettekst 11">
            <a:extLst>
              <a:ext uri="{FF2B5EF4-FFF2-40B4-BE49-F238E27FC236}">
                <a16:creationId xmlns:a16="http://schemas.microsoft.com/office/drawing/2014/main" id="{E1D744BA-63FC-2CF6-35D7-700D6DB405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9" name="Tijdelijke aanduiding voor dianummer 12">
            <a:extLst>
              <a:ext uri="{FF2B5EF4-FFF2-40B4-BE49-F238E27FC236}">
                <a16:creationId xmlns:a16="http://schemas.microsoft.com/office/drawing/2014/main" id="{AD0A93DA-CF84-A79D-D2AE-01A76092E3A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BD9B9C-CBC7-42F3-A68B-B42F6814884D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3911520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vla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21170069-1FE9-3E2C-61DB-A6F15B8BE8E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3" name="Afbeelding 9">
            <a:extLst>
              <a:ext uri="{FF2B5EF4-FFF2-40B4-BE49-F238E27FC236}">
                <a16:creationId xmlns:a16="http://schemas.microsoft.com/office/drawing/2014/main" id="{4268C435-78B9-59E5-5E75-D1B3DB62AD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10FBD5B7-9063-7093-0A08-4417DFF6C05F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34999" y="2636839"/>
            <a:ext cx="5004000" cy="1584324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/>
          </p:nvPr>
        </p:nvSpPr>
        <p:spPr>
          <a:xfrm>
            <a:off x="6553199" y="1052513"/>
            <a:ext cx="5004000" cy="5168900"/>
          </a:xfrm>
        </p:spPr>
        <p:txBody>
          <a:bodyPr anchor="ctr" anchorCtr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12">
            <a:extLst>
              <a:ext uri="{FF2B5EF4-FFF2-40B4-BE49-F238E27FC236}">
                <a16:creationId xmlns:a16="http://schemas.microsoft.com/office/drawing/2014/main" id="{B209F5DB-3A5A-2D0D-3A6C-E6BADCE3B5F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voettekst 13">
            <a:extLst>
              <a:ext uri="{FF2B5EF4-FFF2-40B4-BE49-F238E27FC236}">
                <a16:creationId xmlns:a16="http://schemas.microsoft.com/office/drawing/2014/main" id="{7633E49E-8642-E4C1-63F3-F49459EBC1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9" name="Tijdelijke aanduiding voor dianummer 14">
            <a:extLst>
              <a:ext uri="{FF2B5EF4-FFF2-40B4-BE49-F238E27FC236}">
                <a16:creationId xmlns:a16="http://schemas.microsoft.com/office/drawing/2014/main" id="{B8E483A8-5EE0-B70F-6F0B-41200AD2BEA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AACD0F-06FB-4F40-BED7-FCFA55CE5962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5219984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635000" y="3427413"/>
            <a:ext cx="5003800" cy="2794000"/>
          </a:xfrm>
        </p:spPr>
        <p:txBody>
          <a:bodyPr anchor="t" anchorCtr="0"/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635000" y="1052513"/>
            <a:ext cx="5003800" cy="948047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8" name="Tijdelijke aanduiding voor afbeelding 9"/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29238 w 6096000"/>
              <a:gd name="connsiteY0" fmla="*/ 0 h 6860381"/>
              <a:gd name="connsiteX1" fmla="*/ 6091238 w 6096000"/>
              <a:gd name="connsiteY1" fmla="*/ 0 h 6860381"/>
              <a:gd name="connsiteX2" fmla="*/ 6091238 w 6096000"/>
              <a:gd name="connsiteY2" fmla="*/ 2381 h 6860381"/>
              <a:gd name="connsiteX3" fmla="*/ 6096000 w 6096000"/>
              <a:gd name="connsiteY3" fmla="*/ 2381 h 6860381"/>
              <a:gd name="connsiteX4" fmla="*/ 6096000 w 6096000"/>
              <a:gd name="connsiteY4" fmla="*/ 6860381 h 6860381"/>
              <a:gd name="connsiteX5" fmla="*/ 6095999 w 6096000"/>
              <a:gd name="connsiteY5" fmla="*/ 6860381 h 6860381"/>
              <a:gd name="connsiteX6" fmla="*/ 3832225 w 6096000"/>
              <a:gd name="connsiteY6" fmla="*/ 6860381 h 6860381"/>
              <a:gd name="connsiteX7" fmla="*/ 232201 w 6096000"/>
              <a:gd name="connsiteY7" fmla="*/ 6860381 h 6860381"/>
              <a:gd name="connsiteX8" fmla="*/ 232201 w 6096000"/>
              <a:gd name="connsiteY8" fmla="*/ 6626381 h 6860381"/>
              <a:gd name="connsiteX9" fmla="*/ 0 w 6096000"/>
              <a:gd name="connsiteY9" fmla="*/ 6626381 h 6860381"/>
              <a:gd name="connsiteX10" fmla="*/ 0 w 6096000"/>
              <a:gd name="connsiteY10" fmla="*/ 5488781 h 6860381"/>
              <a:gd name="connsiteX11" fmla="*/ 1 w 6096000"/>
              <a:gd name="connsiteY11" fmla="*/ 5488781 h 6860381"/>
              <a:gd name="connsiteX12" fmla="*/ 1 w 6096000"/>
              <a:gd name="connsiteY12" fmla="*/ 948531 h 6860381"/>
              <a:gd name="connsiteX13" fmla="*/ 1 w 6096000"/>
              <a:gd name="connsiteY13" fmla="*/ 711200 h 6860381"/>
              <a:gd name="connsiteX14" fmla="*/ 1 w 6096000"/>
              <a:gd name="connsiteY14" fmla="*/ 2381 h 6860381"/>
              <a:gd name="connsiteX15" fmla="*/ 2 w 6096000"/>
              <a:gd name="connsiteY15" fmla="*/ 2381 h 6860381"/>
              <a:gd name="connsiteX16" fmla="*/ 2 w 6096000"/>
              <a:gd name="connsiteY16" fmla="*/ 711994 h 6860381"/>
              <a:gd name="connsiteX17" fmla="*/ 233366 w 6096000"/>
              <a:gd name="connsiteY17" fmla="*/ 711994 h 6860381"/>
              <a:gd name="connsiteX18" fmla="*/ 233366 w 6096000"/>
              <a:gd name="connsiteY18" fmla="*/ 2381 h 6860381"/>
              <a:gd name="connsiteX19" fmla="*/ 229238 w 6096000"/>
              <a:gd name="connsiteY19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0" h="6860381">
                <a:moveTo>
                  <a:pt x="229238" y="0"/>
                </a:moveTo>
                <a:lnTo>
                  <a:pt x="6091238" y="0"/>
                </a:lnTo>
                <a:lnTo>
                  <a:pt x="6091238" y="2381"/>
                </a:lnTo>
                <a:lnTo>
                  <a:pt x="6096000" y="2381"/>
                </a:lnTo>
                <a:lnTo>
                  <a:pt x="6096000" y="6860381"/>
                </a:lnTo>
                <a:lnTo>
                  <a:pt x="6095999" y="6860381"/>
                </a:lnTo>
                <a:lnTo>
                  <a:pt x="3832225" y="6860381"/>
                </a:lnTo>
                <a:lnTo>
                  <a:pt x="232201" y="6860381"/>
                </a:lnTo>
                <a:lnTo>
                  <a:pt x="232201" y="6626381"/>
                </a:lnTo>
                <a:lnTo>
                  <a:pt x="0" y="6626381"/>
                </a:lnTo>
                <a:lnTo>
                  <a:pt x="0" y="5488781"/>
                </a:lnTo>
                <a:lnTo>
                  <a:pt x="1" y="5488781"/>
                </a:lnTo>
                <a:lnTo>
                  <a:pt x="1" y="948531"/>
                </a:lnTo>
                <a:lnTo>
                  <a:pt x="1" y="711200"/>
                </a:lnTo>
                <a:lnTo>
                  <a:pt x="1" y="2381"/>
                </a:lnTo>
                <a:lnTo>
                  <a:pt x="2" y="2381"/>
                </a:lnTo>
                <a:lnTo>
                  <a:pt x="2" y="711994"/>
                </a:lnTo>
                <a:lnTo>
                  <a:pt x="233366" y="711994"/>
                </a:lnTo>
                <a:lnTo>
                  <a:pt x="233366" y="2381"/>
                </a:lnTo>
                <a:lnTo>
                  <a:pt x="229238" y="23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AA59390E-6259-591A-CA5A-88DD1226FC6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4">
            <a:extLst>
              <a:ext uri="{FF2B5EF4-FFF2-40B4-BE49-F238E27FC236}">
                <a16:creationId xmlns:a16="http://schemas.microsoft.com/office/drawing/2014/main" id="{6CB04E2F-2258-553D-4F4D-231E69D1A3A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69425B25-AD43-DCE9-38B9-3F4769A044C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3CF88-EC1F-4754-B010-8254297BA848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828474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A7C98B8-98F2-6B1D-CAAF-D6F4BCCFA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E1DF205-8027-2EF7-0485-1150134064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2F255C7-4114-9918-D886-65E2C7E9A1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BF37CC-9892-4590-8576-D9A41DE1BF1C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6899574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verticaal k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9D4C1177-9153-4021-15A9-098BC6F3F66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C590B547-CC79-DE55-9D71-A32ED45EDF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C3A7980D-7C28-B7F7-D2C0-7CB4F6E1CAB4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5"/>
          </p:nvPr>
        </p:nvSpPr>
        <p:spPr>
          <a:xfrm>
            <a:off x="635000" y="2289600"/>
            <a:ext cx="5005388" cy="393541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6" y="1051200"/>
            <a:ext cx="5004594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1" name="Tijdelijke aanduiding voor afbeelding 9"/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29238 w 6096000"/>
              <a:gd name="connsiteY0" fmla="*/ 0 h 6860381"/>
              <a:gd name="connsiteX1" fmla="*/ 6091238 w 6096000"/>
              <a:gd name="connsiteY1" fmla="*/ 0 h 6860381"/>
              <a:gd name="connsiteX2" fmla="*/ 6091238 w 6096000"/>
              <a:gd name="connsiteY2" fmla="*/ 2381 h 6860381"/>
              <a:gd name="connsiteX3" fmla="*/ 6096000 w 6096000"/>
              <a:gd name="connsiteY3" fmla="*/ 2381 h 6860381"/>
              <a:gd name="connsiteX4" fmla="*/ 6096000 w 6096000"/>
              <a:gd name="connsiteY4" fmla="*/ 6860381 h 6860381"/>
              <a:gd name="connsiteX5" fmla="*/ 6095999 w 6096000"/>
              <a:gd name="connsiteY5" fmla="*/ 6860381 h 6860381"/>
              <a:gd name="connsiteX6" fmla="*/ 3832225 w 6096000"/>
              <a:gd name="connsiteY6" fmla="*/ 6860381 h 6860381"/>
              <a:gd name="connsiteX7" fmla="*/ 232201 w 6096000"/>
              <a:gd name="connsiteY7" fmla="*/ 6860381 h 6860381"/>
              <a:gd name="connsiteX8" fmla="*/ 232201 w 6096000"/>
              <a:gd name="connsiteY8" fmla="*/ 6626381 h 6860381"/>
              <a:gd name="connsiteX9" fmla="*/ 0 w 6096000"/>
              <a:gd name="connsiteY9" fmla="*/ 6626381 h 6860381"/>
              <a:gd name="connsiteX10" fmla="*/ 0 w 6096000"/>
              <a:gd name="connsiteY10" fmla="*/ 5488781 h 6860381"/>
              <a:gd name="connsiteX11" fmla="*/ 1 w 6096000"/>
              <a:gd name="connsiteY11" fmla="*/ 5488781 h 6860381"/>
              <a:gd name="connsiteX12" fmla="*/ 1 w 6096000"/>
              <a:gd name="connsiteY12" fmla="*/ 948531 h 6860381"/>
              <a:gd name="connsiteX13" fmla="*/ 1 w 6096000"/>
              <a:gd name="connsiteY13" fmla="*/ 711200 h 6860381"/>
              <a:gd name="connsiteX14" fmla="*/ 1 w 6096000"/>
              <a:gd name="connsiteY14" fmla="*/ 2381 h 6860381"/>
              <a:gd name="connsiteX15" fmla="*/ 2 w 6096000"/>
              <a:gd name="connsiteY15" fmla="*/ 2381 h 6860381"/>
              <a:gd name="connsiteX16" fmla="*/ 2 w 6096000"/>
              <a:gd name="connsiteY16" fmla="*/ 711994 h 6860381"/>
              <a:gd name="connsiteX17" fmla="*/ 233366 w 6096000"/>
              <a:gd name="connsiteY17" fmla="*/ 711994 h 6860381"/>
              <a:gd name="connsiteX18" fmla="*/ 233366 w 6096000"/>
              <a:gd name="connsiteY18" fmla="*/ 2381 h 6860381"/>
              <a:gd name="connsiteX19" fmla="*/ 229238 w 6096000"/>
              <a:gd name="connsiteY19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0" h="6860381">
                <a:moveTo>
                  <a:pt x="229238" y="0"/>
                </a:moveTo>
                <a:lnTo>
                  <a:pt x="6091238" y="0"/>
                </a:lnTo>
                <a:lnTo>
                  <a:pt x="6091238" y="2381"/>
                </a:lnTo>
                <a:lnTo>
                  <a:pt x="6096000" y="2381"/>
                </a:lnTo>
                <a:lnTo>
                  <a:pt x="6096000" y="6860381"/>
                </a:lnTo>
                <a:lnTo>
                  <a:pt x="6095999" y="6860381"/>
                </a:lnTo>
                <a:lnTo>
                  <a:pt x="3832225" y="6860381"/>
                </a:lnTo>
                <a:lnTo>
                  <a:pt x="232201" y="6860381"/>
                </a:lnTo>
                <a:lnTo>
                  <a:pt x="232201" y="6626381"/>
                </a:lnTo>
                <a:lnTo>
                  <a:pt x="0" y="6626381"/>
                </a:lnTo>
                <a:lnTo>
                  <a:pt x="0" y="5488781"/>
                </a:lnTo>
                <a:lnTo>
                  <a:pt x="1" y="5488781"/>
                </a:lnTo>
                <a:lnTo>
                  <a:pt x="1" y="948531"/>
                </a:lnTo>
                <a:lnTo>
                  <a:pt x="1" y="711200"/>
                </a:lnTo>
                <a:lnTo>
                  <a:pt x="1" y="2381"/>
                </a:lnTo>
                <a:lnTo>
                  <a:pt x="2" y="2381"/>
                </a:lnTo>
                <a:lnTo>
                  <a:pt x="2" y="711994"/>
                </a:lnTo>
                <a:lnTo>
                  <a:pt x="233366" y="711994"/>
                </a:lnTo>
                <a:lnTo>
                  <a:pt x="233366" y="2381"/>
                </a:lnTo>
                <a:lnTo>
                  <a:pt x="229238" y="23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19">
            <a:extLst>
              <a:ext uri="{FF2B5EF4-FFF2-40B4-BE49-F238E27FC236}">
                <a16:creationId xmlns:a16="http://schemas.microsoft.com/office/drawing/2014/main" id="{9F9425BA-75D4-9253-1CAB-8964D46F4966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20">
            <a:extLst>
              <a:ext uri="{FF2B5EF4-FFF2-40B4-BE49-F238E27FC236}">
                <a16:creationId xmlns:a16="http://schemas.microsoft.com/office/drawing/2014/main" id="{4C8FEA5F-7D98-FA2E-DCFE-45A5EB2F6D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21">
            <a:extLst>
              <a:ext uri="{FF2B5EF4-FFF2-40B4-BE49-F238E27FC236}">
                <a16:creationId xmlns:a16="http://schemas.microsoft.com/office/drawing/2014/main" id="{1D02D3B1-CA85-9BBA-E337-AB09DC47687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CD58C3-A0BA-402D-81EC-9E01CEE1BE69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4255029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verticaal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6"/>
          </p:nvPr>
        </p:nvSpPr>
        <p:spPr>
          <a:xfrm>
            <a:off x="635000" y="2289600"/>
            <a:ext cx="5003800" cy="39318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051200"/>
            <a:ext cx="5003800" cy="948047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29238 w 6096000"/>
              <a:gd name="connsiteY0" fmla="*/ 0 h 6860381"/>
              <a:gd name="connsiteX1" fmla="*/ 6091238 w 6096000"/>
              <a:gd name="connsiteY1" fmla="*/ 0 h 6860381"/>
              <a:gd name="connsiteX2" fmla="*/ 6091238 w 6096000"/>
              <a:gd name="connsiteY2" fmla="*/ 2381 h 6860381"/>
              <a:gd name="connsiteX3" fmla="*/ 6096000 w 6096000"/>
              <a:gd name="connsiteY3" fmla="*/ 2381 h 6860381"/>
              <a:gd name="connsiteX4" fmla="*/ 6096000 w 6096000"/>
              <a:gd name="connsiteY4" fmla="*/ 6860381 h 6860381"/>
              <a:gd name="connsiteX5" fmla="*/ 6095999 w 6096000"/>
              <a:gd name="connsiteY5" fmla="*/ 6860381 h 6860381"/>
              <a:gd name="connsiteX6" fmla="*/ 3832225 w 6096000"/>
              <a:gd name="connsiteY6" fmla="*/ 6860381 h 6860381"/>
              <a:gd name="connsiteX7" fmla="*/ 232201 w 6096000"/>
              <a:gd name="connsiteY7" fmla="*/ 6860381 h 6860381"/>
              <a:gd name="connsiteX8" fmla="*/ 232201 w 6096000"/>
              <a:gd name="connsiteY8" fmla="*/ 6626381 h 6860381"/>
              <a:gd name="connsiteX9" fmla="*/ 0 w 6096000"/>
              <a:gd name="connsiteY9" fmla="*/ 6626381 h 6860381"/>
              <a:gd name="connsiteX10" fmla="*/ 0 w 6096000"/>
              <a:gd name="connsiteY10" fmla="*/ 5488781 h 6860381"/>
              <a:gd name="connsiteX11" fmla="*/ 1 w 6096000"/>
              <a:gd name="connsiteY11" fmla="*/ 5488781 h 6860381"/>
              <a:gd name="connsiteX12" fmla="*/ 1 w 6096000"/>
              <a:gd name="connsiteY12" fmla="*/ 948531 h 6860381"/>
              <a:gd name="connsiteX13" fmla="*/ 1 w 6096000"/>
              <a:gd name="connsiteY13" fmla="*/ 711200 h 6860381"/>
              <a:gd name="connsiteX14" fmla="*/ 1 w 6096000"/>
              <a:gd name="connsiteY14" fmla="*/ 2381 h 6860381"/>
              <a:gd name="connsiteX15" fmla="*/ 2 w 6096000"/>
              <a:gd name="connsiteY15" fmla="*/ 2381 h 6860381"/>
              <a:gd name="connsiteX16" fmla="*/ 2 w 6096000"/>
              <a:gd name="connsiteY16" fmla="*/ 711994 h 6860381"/>
              <a:gd name="connsiteX17" fmla="*/ 233366 w 6096000"/>
              <a:gd name="connsiteY17" fmla="*/ 711994 h 6860381"/>
              <a:gd name="connsiteX18" fmla="*/ 233366 w 6096000"/>
              <a:gd name="connsiteY18" fmla="*/ 2381 h 6860381"/>
              <a:gd name="connsiteX19" fmla="*/ 229238 w 6096000"/>
              <a:gd name="connsiteY19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0" h="6860381">
                <a:moveTo>
                  <a:pt x="229238" y="0"/>
                </a:moveTo>
                <a:lnTo>
                  <a:pt x="6091238" y="0"/>
                </a:lnTo>
                <a:lnTo>
                  <a:pt x="6091238" y="2381"/>
                </a:lnTo>
                <a:lnTo>
                  <a:pt x="6096000" y="2381"/>
                </a:lnTo>
                <a:lnTo>
                  <a:pt x="6096000" y="6860381"/>
                </a:lnTo>
                <a:lnTo>
                  <a:pt x="6095999" y="6860381"/>
                </a:lnTo>
                <a:lnTo>
                  <a:pt x="3832225" y="6860381"/>
                </a:lnTo>
                <a:lnTo>
                  <a:pt x="232201" y="6860381"/>
                </a:lnTo>
                <a:lnTo>
                  <a:pt x="232201" y="6626381"/>
                </a:lnTo>
                <a:lnTo>
                  <a:pt x="0" y="6626381"/>
                </a:lnTo>
                <a:lnTo>
                  <a:pt x="0" y="5488781"/>
                </a:lnTo>
                <a:lnTo>
                  <a:pt x="1" y="5488781"/>
                </a:lnTo>
                <a:lnTo>
                  <a:pt x="1" y="948531"/>
                </a:lnTo>
                <a:lnTo>
                  <a:pt x="1" y="711200"/>
                </a:lnTo>
                <a:lnTo>
                  <a:pt x="1" y="2381"/>
                </a:lnTo>
                <a:lnTo>
                  <a:pt x="2" y="2381"/>
                </a:lnTo>
                <a:lnTo>
                  <a:pt x="2" y="711994"/>
                </a:lnTo>
                <a:lnTo>
                  <a:pt x="233366" y="711994"/>
                </a:lnTo>
                <a:lnTo>
                  <a:pt x="233366" y="2381"/>
                </a:lnTo>
                <a:lnTo>
                  <a:pt x="229238" y="23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3" name="Tijdelijke aanduiding voor datum 3">
            <a:extLst>
              <a:ext uri="{FF2B5EF4-FFF2-40B4-BE49-F238E27FC236}">
                <a16:creationId xmlns:a16="http://schemas.microsoft.com/office/drawing/2014/main" id="{4EC78A39-B43A-0656-63F6-6986787668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D24FE766-8C68-051D-02D6-0A9AC165EDB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E66A333A-53C4-F88F-AD21-95112D29479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BC2AA4-93DC-4A6C-BFF3-A11DA229889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0593916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horizontaa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08588B56-6318-243E-B501-81E55FCD7CA3}"/>
              </a:ext>
            </a:extLst>
          </p:cNvPr>
          <p:cNvSpPr/>
          <p:nvPr userDrawn="1"/>
        </p:nvSpPr>
        <p:spPr>
          <a:xfrm>
            <a:off x="0" y="0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B5CD07E2-5A72-3AC4-F7F7-E36C9F05EF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052513"/>
            <a:ext cx="10923588" cy="2374900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0" y="3749487"/>
            <a:ext cx="10923588" cy="2471925"/>
          </a:xfrm>
        </p:spPr>
        <p:txBody>
          <a:bodyPr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7">
            <a:extLst>
              <a:ext uri="{FF2B5EF4-FFF2-40B4-BE49-F238E27FC236}">
                <a16:creationId xmlns:a16="http://schemas.microsoft.com/office/drawing/2014/main" id="{49063FF6-33B2-6D82-00F8-214D5DA7785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9">
            <a:extLst>
              <a:ext uri="{FF2B5EF4-FFF2-40B4-BE49-F238E27FC236}">
                <a16:creationId xmlns:a16="http://schemas.microsoft.com/office/drawing/2014/main" id="{34905B73-D7D5-C7CE-7037-83F38C8E9D9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10">
            <a:extLst>
              <a:ext uri="{FF2B5EF4-FFF2-40B4-BE49-F238E27FC236}">
                <a16:creationId xmlns:a16="http://schemas.microsoft.com/office/drawing/2014/main" id="{851B250A-9779-F6CB-A594-6424444A1CA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A3F3CF-3D7F-4A34-BA03-AF612F342F0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218488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horizontaa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0BB61162-5754-1236-1FFC-F575572A528C}"/>
              </a:ext>
            </a:extLst>
          </p:cNvPr>
          <p:cNvSpPr/>
          <p:nvPr userDrawn="1"/>
        </p:nvSpPr>
        <p:spPr>
          <a:xfrm>
            <a:off x="0" y="3430588"/>
            <a:ext cx="12192000" cy="34274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CAB935CC-6C84-416B-3763-5D5F4C85C6BB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052513"/>
            <a:ext cx="10923588" cy="2374900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0" y="3749487"/>
            <a:ext cx="10923588" cy="2471925"/>
          </a:xfrm>
        </p:spPr>
        <p:txBody>
          <a:bodyPr numCol="2" spcCol="4680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7">
            <a:extLst>
              <a:ext uri="{FF2B5EF4-FFF2-40B4-BE49-F238E27FC236}">
                <a16:creationId xmlns:a16="http://schemas.microsoft.com/office/drawing/2014/main" id="{2C01BA4C-C1E0-B451-D45D-928091801C0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9">
            <a:extLst>
              <a:ext uri="{FF2B5EF4-FFF2-40B4-BE49-F238E27FC236}">
                <a16:creationId xmlns:a16="http://schemas.microsoft.com/office/drawing/2014/main" id="{E4C1BD3C-6394-D19D-1051-25DE0E305A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10">
            <a:extLst>
              <a:ext uri="{FF2B5EF4-FFF2-40B4-BE49-F238E27FC236}">
                <a16:creationId xmlns:a16="http://schemas.microsoft.com/office/drawing/2014/main" id="{ED6285A7-E1BE-753F-8094-CB7AD0B2F0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E1A531-C63F-4EB7-819A-327F971A8289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7346991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kle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720000" tIns="1152000">
            <a:noAutofit/>
          </a:bodyPr>
          <a:lstStyle>
            <a:lvl1pPr>
              <a:buClr>
                <a:schemeClr val="bg2"/>
              </a:buClr>
              <a:tabLst>
                <a:tab pos="1619250" algn="l"/>
              </a:tabLs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5" y="3888000"/>
            <a:ext cx="5004595" cy="2333413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6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554588" y="3888000"/>
            <a:ext cx="5004000" cy="2333413"/>
          </a:xfrm>
        </p:spPr>
        <p:txBody>
          <a:bodyPr tIns="50400" numCol="1" spcCol="468000" anchor="t" anchorCtr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3" name="Tijdelijke aanduiding voor datum 9">
            <a:extLst>
              <a:ext uri="{FF2B5EF4-FFF2-40B4-BE49-F238E27FC236}">
                <a16:creationId xmlns:a16="http://schemas.microsoft.com/office/drawing/2014/main" id="{2EE3710B-2CF6-2D98-ADCD-56EAA1BE82D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10">
            <a:extLst>
              <a:ext uri="{FF2B5EF4-FFF2-40B4-BE49-F238E27FC236}">
                <a16:creationId xmlns:a16="http://schemas.microsoft.com/office/drawing/2014/main" id="{58252666-7864-DF10-66E0-B98BE687F0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12">
            <a:extLst>
              <a:ext uri="{FF2B5EF4-FFF2-40B4-BE49-F238E27FC236}">
                <a16:creationId xmlns:a16="http://schemas.microsoft.com/office/drawing/2014/main" id="{7C08DD2A-5BDE-45ED-483E-BF2D3943A8E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6416A82-21A0-411B-867B-31B74250FDC0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79569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</p:spPr>
        <p:txBody>
          <a:bodyPr wrap="square" lIns="720000" tIns="115200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553199" y="3888000"/>
            <a:ext cx="5004000" cy="2333413"/>
          </a:xfrm>
        </p:spPr>
        <p:txBody>
          <a:bodyPr tIns="50400" numCol="1" spcCol="468000" anchor="t" anchorCtr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6" y="3888000"/>
            <a:ext cx="5004594" cy="2333413"/>
          </a:xfrm>
        </p:spPr>
        <p:txBody>
          <a:bodyPr anchor="t"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datum 3">
            <a:extLst>
              <a:ext uri="{FF2B5EF4-FFF2-40B4-BE49-F238E27FC236}">
                <a16:creationId xmlns:a16="http://schemas.microsoft.com/office/drawing/2014/main" id="{28F90DF2-441C-F10F-70E9-DD500740D66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CBEB5841-94DE-9AD3-C221-430023159E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6C4BFD12-F943-F02F-7931-CF7456B7179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601FA7-3EF4-4290-B607-64440081DFC3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513359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. kleur zonder tit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720000" tIns="1152000">
            <a:noAutofit/>
          </a:bodyPr>
          <a:lstStyle>
            <a:lvl1pPr>
              <a:tabLst>
                <a:tab pos="1619250" algn="l"/>
              </a:tabLs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0" y="3888000"/>
            <a:ext cx="10923588" cy="2333413"/>
          </a:xfrm>
        </p:spPr>
        <p:txBody>
          <a:bodyPr tIns="50400"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7">
            <a:extLst>
              <a:ext uri="{FF2B5EF4-FFF2-40B4-BE49-F238E27FC236}">
                <a16:creationId xmlns:a16="http://schemas.microsoft.com/office/drawing/2014/main" id="{30826645-D500-ECC5-5A1E-4666F41839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8">
            <a:extLst>
              <a:ext uri="{FF2B5EF4-FFF2-40B4-BE49-F238E27FC236}">
                <a16:creationId xmlns:a16="http://schemas.microsoft.com/office/drawing/2014/main" id="{617BD92E-0CFE-5222-4280-8C73DD79FA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9">
            <a:extLst>
              <a:ext uri="{FF2B5EF4-FFF2-40B4-BE49-F238E27FC236}">
                <a16:creationId xmlns:a16="http://schemas.microsoft.com/office/drawing/2014/main" id="{22029263-0BC5-4157-0320-2EC8A03F41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A632AC9-BC46-40D6-892F-A557332C0AF2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156150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. wit zond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115200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0" y="3888000"/>
            <a:ext cx="10923588" cy="2333413"/>
          </a:xfrm>
        </p:spPr>
        <p:txBody>
          <a:bodyPr tIns="50400"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31E4A6E4-C891-8970-8A75-67C6935218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4">
            <a:extLst>
              <a:ext uri="{FF2B5EF4-FFF2-40B4-BE49-F238E27FC236}">
                <a16:creationId xmlns:a16="http://schemas.microsoft.com/office/drawing/2014/main" id="{71826D43-722D-5C85-45D7-0C5EA3FC7E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5">
            <a:extLst>
              <a:ext uri="{FF2B5EF4-FFF2-40B4-BE49-F238E27FC236}">
                <a16:creationId xmlns:a16="http://schemas.microsoft.com/office/drawing/2014/main" id="{0C24E41E-61FC-87F2-9FB3-D0890A07D7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61757-F523-4CCD-AC8B-8B80AC4379AE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3025166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kleur tit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0" y="3427413"/>
            <a:ext cx="12192000" cy="3430587"/>
          </a:xfrm>
          <a:custGeom>
            <a:avLst/>
            <a:gdLst>
              <a:gd name="connsiteX0" fmla="*/ 0 w 12192000"/>
              <a:gd name="connsiteY0" fmla="*/ 0 h 3430587"/>
              <a:gd name="connsiteX1" fmla="*/ 12192000 w 12192000"/>
              <a:gd name="connsiteY1" fmla="*/ 0 h 3430587"/>
              <a:gd name="connsiteX2" fmla="*/ 12192000 w 12192000"/>
              <a:gd name="connsiteY2" fmla="*/ 3430587 h 3430587"/>
              <a:gd name="connsiteX3" fmla="*/ 6330000 w 12192000"/>
              <a:gd name="connsiteY3" fmla="*/ 3430587 h 3430587"/>
              <a:gd name="connsiteX4" fmla="*/ 6330000 w 12192000"/>
              <a:gd name="connsiteY4" fmla="*/ 3192987 h 3430587"/>
              <a:gd name="connsiteX5" fmla="*/ 5862000 w 12192000"/>
              <a:gd name="connsiteY5" fmla="*/ 3192987 h 3430587"/>
              <a:gd name="connsiteX6" fmla="*/ 5862000 w 12192000"/>
              <a:gd name="connsiteY6" fmla="*/ 3430587 h 3430587"/>
              <a:gd name="connsiteX7" fmla="*/ 0 w 12192000"/>
              <a:gd name="connsiteY7" fmla="*/ 3430587 h 3430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30587">
                <a:moveTo>
                  <a:pt x="0" y="0"/>
                </a:moveTo>
                <a:lnTo>
                  <a:pt x="12192000" y="0"/>
                </a:lnTo>
                <a:lnTo>
                  <a:pt x="12192000" y="3430587"/>
                </a:lnTo>
                <a:lnTo>
                  <a:pt x="6330000" y="3430587"/>
                </a:lnTo>
                <a:lnTo>
                  <a:pt x="6330000" y="3192987"/>
                </a:lnTo>
                <a:lnTo>
                  <a:pt x="5862000" y="3192987"/>
                </a:lnTo>
                <a:lnTo>
                  <a:pt x="5862000" y="3430587"/>
                </a:lnTo>
                <a:lnTo>
                  <a:pt x="0" y="3430587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61200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3600" y="1051200"/>
            <a:ext cx="10924382" cy="9468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datum 12">
            <a:extLst>
              <a:ext uri="{FF2B5EF4-FFF2-40B4-BE49-F238E27FC236}">
                <a16:creationId xmlns:a16="http://schemas.microsoft.com/office/drawing/2014/main" id="{C3D8DEEF-3DE7-9B59-5E53-AD083392AA8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13">
            <a:extLst>
              <a:ext uri="{FF2B5EF4-FFF2-40B4-BE49-F238E27FC236}">
                <a16:creationId xmlns:a16="http://schemas.microsoft.com/office/drawing/2014/main" id="{DF89BE68-063B-8031-06A4-CF9954671E0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14">
            <a:extLst>
              <a:ext uri="{FF2B5EF4-FFF2-40B4-BE49-F238E27FC236}">
                <a16:creationId xmlns:a16="http://schemas.microsoft.com/office/drawing/2014/main" id="{9A35652F-85AA-44BE-1C54-D2CD23231B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A2254A2-F46C-450B-ACC7-D9CBACAD3CA6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085809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w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0" y="3427413"/>
            <a:ext cx="12192000" cy="3430587"/>
          </a:xfrm>
          <a:custGeom>
            <a:avLst/>
            <a:gdLst>
              <a:gd name="connsiteX0" fmla="*/ 0 w 12192000"/>
              <a:gd name="connsiteY0" fmla="*/ 0 h 3430587"/>
              <a:gd name="connsiteX1" fmla="*/ 12192000 w 12192000"/>
              <a:gd name="connsiteY1" fmla="*/ 0 h 3430587"/>
              <a:gd name="connsiteX2" fmla="*/ 12192000 w 12192000"/>
              <a:gd name="connsiteY2" fmla="*/ 3430587 h 3430587"/>
              <a:gd name="connsiteX3" fmla="*/ 6330000 w 12192000"/>
              <a:gd name="connsiteY3" fmla="*/ 3430587 h 3430587"/>
              <a:gd name="connsiteX4" fmla="*/ 6330000 w 12192000"/>
              <a:gd name="connsiteY4" fmla="*/ 3192987 h 3430587"/>
              <a:gd name="connsiteX5" fmla="*/ 5862000 w 12192000"/>
              <a:gd name="connsiteY5" fmla="*/ 3192987 h 3430587"/>
              <a:gd name="connsiteX6" fmla="*/ 5862000 w 12192000"/>
              <a:gd name="connsiteY6" fmla="*/ 3430587 h 3430587"/>
              <a:gd name="connsiteX7" fmla="*/ 0 w 12192000"/>
              <a:gd name="connsiteY7" fmla="*/ 3430587 h 3430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30587">
                <a:moveTo>
                  <a:pt x="0" y="0"/>
                </a:moveTo>
                <a:lnTo>
                  <a:pt x="12192000" y="0"/>
                </a:lnTo>
                <a:lnTo>
                  <a:pt x="12192000" y="3430587"/>
                </a:lnTo>
                <a:lnTo>
                  <a:pt x="6330000" y="3430587"/>
                </a:lnTo>
                <a:lnTo>
                  <a:pt x="6330000" y="3192987"/>
                </a:lnTo>
                <a:lnTo>
                  <a:pt x="5862000" y="3192987"/>
                </a:lnTo>
                <a:lnTo>
                  <a:pt x="5862000" y="3430587"/>
                </a:lnTo>
                <a:lnTo>
                  <a:pt x="0" y="3430587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</p:spPr>
        <p:txBody>
          <a:bodyPr wrap="square" lIns="61200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634206" y="1051200"/>
            <a:ext cx="10924382" cy="946800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2" name="Tijdelijke aanduiding voor datum 4">
            <a:extLst>
              <a:ext uri="{FF2B5EF4-FFF2-40B4-BE49-F238E27FC236}">
                <a16:creationId xmlns:a16="http://schemas.microsoft.com/office/drawing/2014/main" id="{204D71A5-05E1-5140-BE74-6492D1F0D95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5">
            <a:extLst>
              <a:ext uri="{FF2B5EF4-FFF2-40B4-BE49-F238E27FC236}">
                <a16:creationId xmlns:a16="http://schemas.microsoft.com/office/drawing/2014/main" id="{E6D0002E-FF84-0D3E-AF04-E751B8292FC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6">
            <a:extLst>
              <a:ext uri="{FF2B5EF4-FFF2-40B4-BE49-F238E27FC236}">
                <a16:creationId xmlns:a16="http://schemas.microsoft.com/office/drawing/2014/main" id="{4D286789-0901-1072-2290-9BD93F54CE6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4AAE7-B63F-4A91-99F1-924A3613EC70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769070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afbeelding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286200D0-B9D8-60AA-FEE7-F4342263108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1D2DFDEB-3639-5916-DEBD-CD6985D9577C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B2CC4839-AD84-AC15-3E39-B6BE3C55925F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5" name="Afbeelding 16">
            <a:extLst>
              <a:ext uri="{FF2B5EF4-FFF2-40B4-BE49-F238E27FC236}">
                <a16:creationId xmlns:a16="http://schemas.microsoft.com/office/drawing/2014/main" id="{4958A1A7-0D12-4AA3-6238-66D088598D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ijdelijke aanduiding voor afbeelding 31"/>
          <p:cNvSpPr>
            <a:spLocks noGrp="1"/>
          </p:cNvSpPr>
          <p:nvPr>
            <p:ph type="pic" sz="quarter" idx="22"/>
          </p:nvPr>
        </p:nvSpPr>
        <p:spPr>
          <a:xfrm>
            <a:off x="-3175" y="0"/>
            <a:ext cx="6099175" cy="6858000"/>
          </a:xfrm>
          <a:custGeom>
            <a:avLst/>
            <a:gdLst>
              <a:gd name="connsiteX0" fmla="*/ 0 w 6099175"/>
              <a:gd name="connsiteY0" fmla="*/ 0 h 6858000"/>
              <a:gd name="connsiteX1" fmla="*/ 5776763 w 6099175"/>
              <a:gd name="connsiteY1" fmla="*/ 0 h 6858000"/>
              <a:gd name="connsiteX2" fmla="*/ 5776763 w 6099175"/>
              <a:gd name="connsiteY2" fmla="*/ 1144800 h 6858000"/>
              <a:gd name="connsiteX3" fmla="*/ 6099175 w 6099175"/>
              <a:gd name="connsiteY3" fmla="*/ 1144800 h 6858000"/>
              <a:gd name="connsiteX4" fmla="*/ 6099175 w 6099175"/>
              <a:gd name="connsiteY4" fmla="*/ 6541200 h 6858000"/>
              <a:gd name="connsiteX5" fmla="*/ 5776595 w 6099175"/>
              <a:gd name="connsiteY5" fmla="*/ 6541200 h 6858000"/>
              <a:gd name="connsiteX6" fmla="*/ 5776595 w 6099175"/>
              <a:gd name="connsiteY6" fmla="*/ 6858000 h 6858000"/>
              <a:gd name="connsiteX7" fmla="*/ 0 w 609917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9175" h="6858000">
                <a:moveTo>
                  <a:pt x="0" y="0"/>
                </a:moveTo>
                <a:lnTo>
                  <a:pt x="5776763" y="0"/>
                </a:lnTo>
                <a:lnTo>
                  <a:pt x="5776763" y="1144800"/>
                </a:lnTo>
                <a:lnTo>
                  <a:pt x="6099175" y="1144800"/>
                </a:lnTo>
                <a:lnTo>
                  <a:pt x="6099175" y="6541200"/>
                </a:lnTo>
                <a:lnTo>
                  <a:pt x="5776595" y="6541200"/>
                </a:lnTo>
                <a:lnTo>
                  <a:pt x="577659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612000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4" name="Tijdelijke aanduiding voor tekst 16"/>
          <p:cNvSpPr>
            <a:spLocks noGrp="1"/>
          </p:cNvSpPr>
          <p:nvPr>
            <p:ph type="body" sz="quarter" idx="2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7" name="Titel 1"/>
          <p:cNvSpPr>
            <a:spLocks noGrp="1"/>
          </p:cNvSpPr>
          <p:nvPr>
            <p:ph type="ctrTitle"/>
          </p:nvPr>
        </p:nvSpPr>
        <p:spPr>
          <a:xfrm>
            <a:off x="6553200" y="1885467"/>
            <a:ext cx="5004000" cy="2336400"/>
          </a:xfrm>
        </p:spPr>
        <p:txBody>
          <a:bodyPr tIns="90000" bIns="9000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8" name="Ondertitel 2"/>
          <p:cNvSpPr>
            <a:spLocks noGrp="1"/>
          </p:cNvSpPr>
          <p:nvPr>
            <p:ph type="subTitle" idx="1"/>
          </p:nvPr>
        </p:nvSpPr>
        <p:spPr>
          <a:xfrm>
            <a:off x="6553200" y="4218267"/>
            <a:ext cx="5004000" cy="1613786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6" name="Tijdelijke aanduiding voor datum 10">
            <a:extLst>
              <a:ext uri="{FF2B5EF4-FFF2-40B4-BE49-F238E27FC236}">
                <a16:creationId xmlns:a16="http://schemas.microsoft.com/office/drawing/2014/main" id="{B21B3125-4533-5EF2-C372-16CFB6BBD43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1">
            <a:extLst>
              <a:ext uri="{FF2B5EF4-FFF2-40B4-BE49-F238E27FC236}">
                <a16:creationId xmlns:a16="http://schemas.microsoft.com/office/drawing/2014/main" id="{1FA37A92-634E-90D1-6ABC-E14C491BFDE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4">
            <a:extLst>
              <a:ext uri="{FF2B5EF4-FFF2-40B4-BE49-F238E27FC236}">
                <a16:creationId xmlns:a16="http://schemas.microsoft.com/office/drawing/2014/main" id="{D4EB475C-62E3-692F-76C7-458FA7F2B78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4C316A-D2B0-4026-A029-86B6BDCD7011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2673684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54489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met tite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8">
            <a:extLst>
              <a:ext uri="{FF2B5EF4-FFF2-40B4-BE49-F238E27FC236}">
                <a16:creationId xmlns:a16="http://schemas.microsoft.com/office/drawing/2014/main" id="{B04B6539-3262-27CA-8CCD-292FF726F7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0" y="5153776"/>
            <a:ext cx="12192000" cy="576000"/>
          </a:xfrm>
          <a:solidFill>
            <a:schemeClr val="tx2"/>
          </a:solidFill>
        </p:spPr>
        <p:txBody>
          <a:bodyPr lIns="756000" anchor="ctr">
            <a:no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0" y="5825413"/>
            <a:ext cx="12192000" cy="396000"/>
          </a:xfrm>
          <a:solidFill>
            <a:schemeClr val="bg1"/>
          </a:solidFill>
        </p:spPr>
        <p:txBody>
          <a:bodyPr lIns="756000" anchor="ctr" anchorCtr="0"/>
          <a:lstStyle>
            <a:lvl1pPr marL="0" indent="0">
              <a:buNone/>
              <a:defRPr sz="2000" i="0">
                <a:solidFill>
                  <a:schemeClr val="tx1"/>
                </a:solidFill>
              </a:defRPr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061907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3"/>
          </p:nvPr>
        </p:nvSpPr>
        <p:spPr>
          <a:xfrm>
            <a:off x="635000" y="2276475"/>
            <a:ext cx="10923588" cy="39449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9C0AD272-2706-E4D5-9335-7609C97E5C8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DBEEFD0C-AAAD-AEBD-EBBD-FE52E9253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6E83D4CB-0556-DF3B-586B-91CF5B4AE9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513905-1E6B-4732-846D-A78BD386E5AA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872025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4"/>
          </p:nvPr>
        </p:nvSpPr>
        <p:spPr>
          <a:xfrm>
            <a:off x="7958859" y="2276475"/>
            <a:ext cx="3600000" cy="3937000"/>
          </a:xfrm>
        </p:spPr>
        <p:txBody>
          <a:bodyPr/>
          <a:lstStyle>
            <a:lvl1pPr marL="0" indent="0">
              <a:buNone/>
              <a:defRPr sz="2000"/>
            </a:lvl1pPr>
            <a:lvl2pPr marL="313200" indent="0">
              <a:buNone/>
              <a:defRPr sz="1800"/>
            </a:lvl2pPr>
            <a:lvl3pPr marL="630000" indent="0">
              <a:buNone/>
              <a:defRPr sz="1600"/>
            </a:lvl3pPr>
            <a:lvl4pPr marL="943200" indent="0">
              <a:buNone/>
              <a:defRPr sz="1600"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9" name="Tijdelijke aanduiding voor inhoud 8"/>
          <p:cNvSpPr>
            <a:spLocks noGrp="1"/>
          </p:cNvSpPr>
          <p:nvPr>
            <p:ph sz="quarter" idx="15"/>
          </p:nvPr>
        </p:nvSpPr>
        <p:spPr>
          <a:xfrm>
            <a:off x="635000" y="2276475"/>
            <a:ext cx="7178964" cy="39449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A4C22750-03C8-4B76-3FD8-B1CF8520AB6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9C6732E6-DBFD-9161-9752-33BEF55090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E8BF2E48-3F93-7FDC-CAF6-8AD03927A74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C6D0-1E1A-484F-93EC-E3075D99EBB9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4630098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33F17724-2C82-C9DF-2916-729FEED1BA1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F66A1806-90DC-B417-C729-829A70305C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5429CDB0-33B8-B15B-CD89-667169880AF0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4"/>
          </p:nvPr>
        </p:nvSpPr>
        <p:spPr>
          <a:xfrm>
            <a:off x="6550024" y="2289599"/>
            <a:ext cx="5004000" cy="3931813"/>
          </a:xfrm>
        </p:spPr>
        <p:txBody>
          <a:bodyPr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50024" y="1051200"/>
            <a:ext cx="5004000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9" name="Tijdelijke aanduiding voor inhoud 8"/>
          <p:cNvSpPr>
            <a:spLocks noGrp="1"/>
          </p:cNvSpPr>
          <p:nvPr>
            <p:ph sz="quarter" idx="19"/>
          </p:nvPr>
        </p:nvSpPr>
        <p:spPr>
          <a:xfrm>
            <a:off x="635000" y="1066799"/>
            <a:ext cx="5003800" cy="51546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datum 13">
            <a:extLst>
              <a:ext uri="{FF2B5EF4-FFF2-40B4-BE49-F238E27FC236}">
                <a16:creationId xmlns:a16="http://schemas.microsoft.com/office/drawing/2014/main" id="{4130C20B-F47B-9349-EE04-AAC149CCD87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4">
            <a:extLst>
              <a:ext uri="{FF2B5EF4-FFF2-40B4-BE49-F238E27FC236}">
                <a16:creationId xmlns:a16="http://schemas.microsoft.com/office/drawing/2014/main" id="{DD966171-9506-FA87-B98F-48C2123FB40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5">
            <a:extLst>
              <a:ext uri="{FF2B5EF4-FFF2-40B4-BE49-F238E27FC236}">
                <a16:creationId xmlns:a16="http://schemas.microsoft.com/office/drawing/2014/main" id="{4A1D626D-9CF6-9F2E-67A5-CED660FD885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2A738-0E31-4210-9395-F579228CD3B0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677229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64FA1518-2AD0-10A7-479A-BB09024B3033}"/>
              </a:ext>
            </a:extLst>
          </p:cNvPr>
          <p:cNvSpPr/>
          <p:nvPr userDrawn="1"/>
        </p:nvSpPr>
        <p:spPr>
          <a:xfrm>
            <a:off x="0" y="0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54C87720-47B4-2AB7-A6E1-CF54E48531E7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5" name="Afbeelding 15">
            <a:extLst>
              <a:ext uri="{FF2B5EF4-FFF2-40B4-BE49-F238E27FC236}">
                <a16:creationId xmlns:a16="http://schemas.microsoft.com/office/drawing/2014/main" id="{FE53A2D9-F4C3-EB7B-B501-4100FF5730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875617"/>
            <a:ext cx="10923588" cy="1551796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5156753" y="3846022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/>
          </p:nvPr>
        </p:nvSpPr>
        <p:spPr>
          <a:xfrm>
            <a:off x="5156753" y="4639509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/>
          </p:nvPr>
        </p:nvSpPr>
        <p:spPr>
          <a:xfrm>
            <a:off x="5156753" y="5405528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4544781" y="3921366"/>
            <a:ext cx="541203" cy="54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4544781" y="4707382"/>
            <a:ext cx="541203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4544781" y="5480872"/>
            <a:ext cx="541203" cy="540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6">
            <a:extLst>
              <a:ext uri="{FF2B5EF4-FFF2-40B4-BE49-F238E27FC236}">
                <a16:creationId xmlns:a16="http://schemas.microsoft.com/office/drawing/2014/main" id="{C3B5A449-0D35-A36F-7F7C-16528AAAA9E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7">
            <a:extLst>
              <a:ext uri="{FF2B5EF4-FFF2-40B4-BE49-F238E27FC236}">
                <a16:creationId xmlns:a16="http://schemas.microsoft.com/office/drawing/2014/main" id="{64FC7FB3-0D4A-CF62-99E0-7DAA9B1939B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8">
            <a:extLst>
              <a:ext uri="{FF2B5EF4-FFF2-40B4-BE49-F238E27FC236}">
                <a16:creationId xmlns:a16="http://schemas.microsoft.com/office/drawing/2014/main" id="{96A36592-6A5A-14EA-A22F-DFD17036B19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582A4F-335A-46C1-9349-52E299859306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9348237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36AB5049-4C73-4BA3-A5BC-9C53C68E6E5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2B12664D-BE56-7901-1753-9903319F80AD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5" name="Afbeelding 15">
            <a:extLst>
              <a:ext uri="{FF2B5EF4-FFF2-40B4-BE49-F238E27FC236}">
                <a16:creationId xmlns:a16="http://schemas.microsoft.com/office/drawing/2014/main" id="{712FF6AA-61EE-DA28-0DCB-ADBE9F07C2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2565400"/>
            <a:ext cx="5003800" cy="1727200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7176285" y="2286000"/>
            <a:ext cx="4382303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/>
          </p:nvPr>
        </p:nvSpPr>
        <p:spPr>
          <a:xfrm>
            <a:off x="7176285" y="3079487"/>
            <a:ext cx="4382303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/>
          </p:nvPr>
        </p:nvSpPr>
        <p:spPr>
          <a:xfrm>
            <a:off x="7176285" y="3845506"/>
            <a:ext cx="4382303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6564313" y="2361344"/>
            <a:ext cx="541203" cy="54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6564313" y="3147360"/>
            <a:ext cx="541203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6564313" y="3920850"/>
            <a:ext cx="541203" cy="540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6">
            <a:extLst>
              <a:ext uri="{FF2B5EF4-FFF2-40B4-BE49-F238E27FC236}">
                <a16:creationId xmlns:a16="http://schemas.microsoft.com/office/drawing/2014/main" id="{E51F7C7B-CCCA-8F48-953F-7523ABB730A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7">
            <a:extLst>
              <a:ext uri="{FF2B5EF4-FFF2-40B4-BE49-F238E27FC236}">
                <a16:creationId xmlns:a16="http://schemas.microsoft.com/office/drawing/2014/main" id="{79818FDD-31DD-B6FF-8761-0E9320DA745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8">
            <a:extLst>
              <a:ext uri="{FF2B5EF4-FFF2-40B4-BE49-F238E27FC236}">
                <a16:creationId xmlns:a16="http://schemas.microsoft.com/office/drawing/2014/main" id="{151A4C3A-3702-2867-221A-EC71ABB8469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42BC5B-6F38-4941-B613-5D0AEFA774CC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9263270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8A51897A-5517-6D4D-736B-A9B31B040787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00D89CA9-9636-8ED9-0762-7D2791A28C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875617"/>
            <a:ext cx="10923588" cy="1551795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4224313" y="3846022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/>
          </p:nvPr>
        </p:nvSpPr>
        <p:spPr>
          <a:xfrm>
            <a:off x="4224313" y="4639509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/>
          </p:nvPr>
        </p:nvSpPr>
        <p:spPr>
          <a:xfrm>
            <a:off x="4224313" y="5405528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3612341" y="3921366"/>
            <a:ext cx="541203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3612341" y="4707382"/>
            <a:ext cx="541203" cy="540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3612341" y="5480872"/>
            <a:ext cx="541203" cy="5400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5" name="Tijdelijke aanduiding voor datum 5">
            <a:extLst>
              <a:ext uri="{FF2B5EF4-FFF2-40B4-BE49-F238E27FC236}">
                <a16:creationId xmlns:a16="http://schemas.microsoft.com/office/drawing/2014/main" id="{C9BF4C9D-5E6D-A90E-40C0-B44560E1D05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6">
            <a:extLst>
              <a:ext uri="{FF2B5EF4-FFF2-40B4-BE49-F238E27FC236}">
                <a16:creationId xmlns:a16="http://schemas.microsoft.com/office/drawing/2014/main" id="{75AD6802-7D67-7ADB-35BE-463F499DCA3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7">
            <a:extLst>
              <a:ext uri="{FF2B5EF4-FFF2-40B4-BE49-F238E27FC236}">
                <a16:creationId xmlns:a16="http://schemas.microsoft.com/office/drawing/2014/main" id="{2CBE9CE8-4746-9233-657B-4D2F140259A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0E40470-E615-4481-BDF5-05DE09299C48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843868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EF64C40E-3381-F22B-3D94-539E70FB74D4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9">
            <a:extLst>
              <a:ext uri="{FF2B5EF4-FFF2-40B4-BE49-F238E27FC236}">
                <a16:creationId xmlns:a16="http://schemas.microsoft.com/office/drawing/2014/main" id="{7C494733-3B4B-92EB-9961-44BB271605F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554588" y="1882800"/>
            <a:ext cx="5004000" cy="2336400"/>
          </a:xfrm>
        </p:spPr>
        <p:txBody>
          <a:bodyPr tIns="90000" bIns="9000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554588" y="4215600"/>
            <a:ext cx="5004000" cy="133920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762015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E3D811C-C283-3CC3-1C8F-A0113A82E2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1A18941-347B-6579-023C-DF4F714F3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9B5E0E1-8F5C-2441-06BD-B02C4485F3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78C76C-A706-497D-B573-CF00527FEA57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870418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afbeelding horizonta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61A177DC-7BC8-4615-C7A0-C55C7247AF98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5" name="Afbeelding 9">
            <a:extLst>
              <a:ext uri="{FF2B5EF4-FFF2-40B4-BE49-F238E27FC236}">
                <a16:creationId xmlns:a16="http://schemas.microsoft.com/office/drawing/2014/main" id="{2DF6327B-FED1-B789-E3C8-508CAD5806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34682" y="3427412"/>
            <a:ext cx="10923906" cy="1726479"/>
          </a:xfrm>
        </p:spPr>
        <p:txBody>
          <a:bodyPr lIns="57600" tIns="90000" bIns="90000">
            <a:norm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34682" y="5162400"/>
            <a:ext cx="10923906" cy="664319"/>
          </a:xfrm>
        </p:spPr>
        <p:txBody>
          <a:bodyPr lIns="72000" tIns="90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17" name="Tijdelijke aanduiding voor tekst 16"/>
          <p:cNvSpPr>
            <a:spLocks noGrp="1"/>
          </p:cNvSpPr>
          <p:nvPr>
            <p:ph type="body" sz="quarter" idx="10"/>
          </p:nvPr>
        </p:nvSpPr>
        <p:spPr>
          <a:xfrm>
            <a:off x="633412" y="5829386"/>
            <a:ext cx="5138738" cy="389360"/>
          </a:xfrm>
        </p:spPr>
        <p:txBody>
          <a:bodyPr lIns="86400" anchor="b" anchorCtr="0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6" name="Tijdelijke aanduiding voor afbeelding 15"/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12192000" cy="3427413"/>
          </a:xfrm>
          <a:custGeom>
            <a:avLst/>
            <a:gdLst>
              <a:gd name="connsiteX0" fmla="*/ 5772000 w 12192000"/>
              <a:gd name="connsiteY0" fmla="*/ 1 h 3427413"/>
              <a:gd name="connsiteX1" fmla="*/ 5772000 w 12192000"/>
              <a:gd name="connsiteY1" fmla="*/ 1144801 h 3427413"/>
              <a:gd name="connsiteX2" fmla="*/ 6420000 w 12192000"/>
              <a:gd name="connsiteY2" fmla="*/ 1144801 h 3427413"/>
              <a:gd name="connsiteX3" fmla="*/ 6420000 w 12192000"/>
              <a:gd name="connsiteY3" fmla="*/ 1 h 3427413"/>
              <a:gd name="connsiteX4" fmla="*/ 0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5772000" y="1"/>
                </a:moveTo>
                <a:lnTo>
                  <a:pt x="5772000" y="1144801"/>
                </a:lnTo>
                <a:lnTo>
                  <a:pt x="6420000" y="1144801"/>
                </a:lnTo>
                <a:lnTo>
                  <a:pt x="6420000" y="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648000" anchor="ctr" anchorCtr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6">
            <a:extLst>
              <a:ext uri="{FF2B5EF4-FFF2-40B4-BE49-F238E27FC236}">
                <a16:creationId xmlns:a16="http://schemas.microsoft.com/office/drawing/2014/main" id="{A930C011-4502-7A9E-F2A6-4F4390F5795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8">
            <a:extLst>
              <a:ext uri="{FF2B5EF4-FFF2-40B4-BE49-F238E27FC236}">
                <a16:creationId xmlns:a16="http://schemas.microsoft.com/office/drawing/2014/main" id="{9A8691DE-600B-FA7B-10C2-2EA92645476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9">
            <a:extLst>
              <a:ext uri="{FF2B5EF4-FFF2-40B4-BE49-F238E27FC236}">
                <a16:creationId xmlns:a16="http://schemas.microsoft.com/office/drawing/2014/main" id="{0472FFDE-A750-40DA-2EB2-1876D747FB0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8C2067C-8249-4957-BD6F-6D8FFDB82564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277925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afbeelding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147D2376-42F7-F907-4858-F058EF97964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F89ADCFA-84DB-777F-641D-A199D32E3998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970035B0-0396-CA88-477C-1067101D2136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16">
            <a:extLst>
              <a:ext uri="{FF2B5EF4-FFF2-40B4-BE49-F238E27FC236}">
                <a16:creationId xmlns:a16="http://schemas.microsoft.com/office/drawing/2014/main" id="{A3D96C38-C2E9-3C78-6510-F720CD2231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ijdelijke aanduiding voor afbeelding 31"/>
          <p:cNvSpPr>
            <a:spLocks noGrp="1"/>
          </p:cNvSpPr>
          <p:nvPr>
            <p:ph type="pic" sz="quarter" idx="22"/>
          </p:nvPr>
        </p:nvSpPr>
        <p:spPr>
          <a:xfrm>
            <a:off x="-3174" y="0"/>
            <a:ext cx="6099175" cy="6858000"/>
          </a:xfrm>
          <a:custGeom>
            <a:avLst/>
            <a:gdLst>
              <a:gd name="connsiteX0" fmla="*/ 0 w 6099175"/>
              <a:gd name="connsiteY0" fmla="*/ 0 h 6858000"/>
              <a:gd name="connsiteX1" fmla="*/ 5776763 w 6099175"/>
              <a:gd name="connsiteY1" fmla="*/ 0 h 6858000"/>
              <a:gd name="connsiteX2" fmla="*/ 5776763 w 6099175"/>
              <a:gd name="connsiteY2" fmla="*/ 1144800 h 6858000"/>
              <a:gd name="connsiteX3" fmla="*/ 6099175 w 6099175"/>
              <a:gd name="connsiteY3" fmla="*/ 1144800 h 6858000"/>
              <a:gd name="connsiteX4" fmla="*/ 6099175 w 6099175"/>
              <a:gd name="connsiteY4" fmla="*/ 6541200 h 6858000"/>
              <a:gd name="connsiteX5" fmla="*/ 5776595 w 6099175"/>
              <a:gd name="connsiteY5" fmla="*/ 6541200 h 6858000"/>
              <a:gd name="connsiteX6" fmla="*/ 5776595 w 6099175"/>
              <a:gd name="connsiteY6" fmla="*/ 6858000 h 6858000"/>
              <a:gd name="connsiteX7" fmla="*/ 0 w 609917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9175" h="6858000">
                <a:moveTo>
                  <a:pt x="0" y="0"/>
                </a:moveTo>
                <a:lnTo>
                  <a:pt x="5776763" y="0"/>
                </a:lnTo>
                <a:lnTo>
                  <a:pt x="5776763" y="1144800"/>
                </a:lnTo>
                <a:lnTo>
                  <a:pt x="6099175" y="1144800"/>
                </a:lnTo>
                <a:lnTo>
                  <a:pt x="6099175" y="6541200"/>
                </a:lnTo>
                <a:lnTo>
                  <a:pt x="5776595" y="6541200"/>
                </a:lnTo>
                <a:lnTo>
                  <a:pt x="577659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612000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4" name="Tijdelijke aanduiding voor tekst 16"/>
          <p:cNvSpPr>
            <a:spLocks noGrp="1"/>
          </p:cNvSpPr>
          <p:nvPr>
            <p:ph type="body" sz="quarter" idx="2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7" name="Titel 1"/>
          <p:cNvSpPr>
            <a:spLocks noGrp="1"/>
          </p:cNvSpPr>
          <p:nvPr>
            <p:ph type="ctrTitle"/>
          </p:nvPr>
        </p:nvSpPr>
        <p:spPr>
          <a:xfrm>
            <a:off x="6553200" y="1885467"/>
            <a:ext cx="5004000" cy="2336400"/>
          </a:xfrm>
        </p:spPr>
        <p:txBody>
          <a:bodyPr tIns="90000" bIns="9000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8" name="Ondertitel 2"/>
          <p:cNvSpPr>
            <a:spLocks noGrp="1"/>
          </p:cNvSpPr>
          <p:nvPr>
            <p:ph type="subTitle" idx="1"/>
          </p:nvPr>
        </p:nvSpPr>
        <p:spPr>
          <a:xfrm>
            <a:off x="6553200" y="4218267"/>
            <a:ext cx="5004000" cy="1613787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6" name="Tijdelijke aanduiding voor datum 10">
            <a:extLst>
              <a:ext uri="{FF2B5EF4-FFF2-40B4-BE49-F238E27FC236}">
                <a16:creationId xmlns:a16="http://schemas.microsoft.com/office/drawing/2014/main" id="{36E9ABE3-0BC8-9561-4D99-060750D4228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1">
            <a:extLst>
              <a:ext uri="{FF2B5EF4-FFF2-40B4-BE49-F238E27FC236}">
                <a16:creationId xmlns:a16="http://schemas.microsoft.com/office/drawing/2014/main" id="{B4F10602-7301-FA0C-C6D3-DBE6FCA53B0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4">
            <a:extLst>
              <a:ext uri="{FF2B5EF4-FFF2-40B4-BE49-F238E27FC236}">
                <a16:creationId xmlns:a16="http://schemas.microsoft.com/office/drawing/2014/main" id="{0CE218EB-6CD6-34A9-FAAD-239F6013C0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1F7AE6-AC54-40F5-9386-F0D6D3A0486E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8646154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afbeelding horizonta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61DA7A19-5E73-3740-97FC-BA601646ECFE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9">
            <a:extLst>
              <a:ext uri="{FF2B5EF4-FFF2-40B4-BE49-F238E27FC236}">
                <a16:creationId xmlns:a16="http://schemas.microsoft.com/office/drawing/2014/main" id="{A3D8AED3-07FC-E79C-02C2-BA7BBC6E91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34681" y="3427414"/>
            <a:ext cx="10923907" cy="1726479"/>
          </a:xfrm>
        </p:spPr>
        <p:txBody>
          <a:bodyPr lIns="57600" tIns="90000" bIns="90000">
            <a:norm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34681" y="5162402"/>
            <a:ext cx="10923907" cy="664319"/>
          </a:xfrm>
        </p:spPr>
        <p:txBody>
          <a:bodyPr lIns="72000" tIns="90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17" name="Tijdelijke aanduiding voor tekst 16"/>
          <p:cNvSpPr>
            <a:spLocks noGrp="1"/>
          </p:cNvSpPr>
          <p:nvPr>
            <p:ph type="body" sz="quarter" idx="10"/>
          </p:nvPr>
        </p:nvSpPr>
        <p:spPr>
          <a:xfrm>
            <a:off x="633412" y="5829387"/>
            <a:ext cx="5138739" cy="389360"/>
          </a:xfrm>
        </p:spPr>
        <p:txBody>
          <a:bodyPr lIns="86400" anchor="b" anchorCtr="0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6" name="Tijdelijke aanduiding voor afbeelding 15"/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12192000" cy="3427413"/>
          </a:xfrm>
          <a:custGeom>
            <a:avLst/>
            <a:gdLst>
              <a:gd name="connsiteX0" fmla="*/ 5772000 w 12192000"/>
              <a:gd name="connsiteY0" fmla="*/ 1 h 3427413"/>
              <a:gd name="connsiteX1" fmla="*/ 5772000 w 12192000"/>
              <a:gd name="connsiteY1" fmla="*/ 1144801 h 3427413"/>
              <a:gd name="connsiteX2" fmla="*/ 6420000 w 12192000"/>
              <a:gd name="connsiteY2" fmla="*/ 1144801 h 3427413"/>
              <a:gd name="connsiteX3" fmla="*/ 6420000 w 12192000"/>
              <a:gd name="connsiteY3" fmla="*/ 1 h 3427413"/>
              <a:gd name="connsiteX4" fmla="*/ 0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5772000" y="1"/>
                </a:moveTo>
                <a:lnTo>
                  <a:pt x="5772000" y="1144801"/>
                </a:lnTo>
                <a:lnTo>
                  <a:pt x="6420000" y="1144801"/>
                </a:lnTo>
                <a:lnTo>
                  <a:pt x="6420000" y="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648000" anchor="ctr" anchorCtr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6">
            <a:extLst>
              <a:ext uri="{FF2B5EF4-FFF2-40B4-BE49-F238E27FC236}">
                <a16:creationId xmlns:a16="http://schemas.microsoft.com/office/drawing/2014/main" id="{813ECB1F-6625-B25A-BB76-87CF2E668CE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8">
            <a:extLst>
              <a:ext uri="{FF2B5EF4-FFF2-40B4-BE49-F238E27FC236}">
                <a16:creationId xmlns:a16="http://schemas.microsoft.com/office/drawing/2014/main" id="{589B6434-39E7-21D7-298D-001BB64A6F5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9">
            <a:extLst>
              <a:ext uri="{FF2B5EF4-FFF2-40B4-BE49-F238E27FC236}">
                <a16:creationId xmlns:a16="http://schemas.microsoft.com/office/drawing/2014/main" id="{67A79ED0-B1DE-1769-8202-FAD5E7E194E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6D58E4B-4B3D-402A-8594-C5FAA7F56B93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809798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558597C5-9538-09B7-510F-127F81060CED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392B60EA-19A1-2E9D-EBBF-7C35F95304EB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B6E2E5FA-2142-6235-6D4C-E74E94107444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16">
            <a:extLst>
              <a:ext uri="{FF2B5EF4-FFF2-40B4-BE49-F238E27FC236}">
                <a16:creationId xmlns:a16="http://schemas.microsoft.com/office/drawing/2014/main" id="{49525A4B-074D-09AD-3E34-D1F121A40B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Ondertitel 2"/>
          <p:cNvSpPr>
            <a:spLocks noGrp="1"/>
          </p:cNvSpPr>
          <p:nvPr>
            <p:ph type="subTitle" idx="1"/>
          </p:nvPr>
        </p:nvSpPr>
        <p:spPr>
          <a:xfrm>
            <a:off x="6556176" y="3427413"/>
            <a:ext cx="5004000" cy="240464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25" name="Tijdelijke aanduiding voor tekst 16"/>
          <p:cNvSpPr>
            <a:spLocks noGrp="1"/>
          </p:cNvSpPr>
          <p:nvPr>
            <p:ph type="body" sz="quarter" idx="2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tel 1"/>
          <p:cNvSpPr>
            <a:spLocks noGrp="1"/>
          </p:cNvSpPr>
          <p:nvPr>
            <p:ph type="ctrTitle"/>
          </p:nvPr>
        </p:nvSpPr>
        <p:spPr>
          <a:xfrm>
            <a:off x="6554588" y="2024063"/>
            <a:ext cx="5004000" cy="1403351"/>
          </a:xfrm>
        </p:spPr>
        <p:txBody>
          <a:bodyPr tIns="90000" bIns="9000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6" name="Tijdelijke aanduiding voor datum 17">
            <a:extLst>
              <a:ext uri="{FF2B5EF4-FFF2-40B4-BE49-F238E27FC236}">
                <a16:creationId xmlns:a16="http://schemas.microsoft.com/office/drawing/2014/main" id="{DDCC5583-389B-6F72-9D12-033BF0706CA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8">
            <a:extLst>
              <a:ext uri="{FF2B5EF4-FFF2-40B4-BE49-F238E27FC236}">
                <a16:creationId xmlns:a16="http://schemas.microsoft.com/office/drawing/2014/main" id="{0190E7E5-8001-F763-443F-E8A305C9ABE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9">
            <a:extLst>
              <a:ext uri="{FF2B5EF4-FFF2-40B4-BE49-F238E27FC236}">
                <a16:creationId xmlns:a16="http://schemas.microsoft.com/office/drawing/2014/main" id="{3AD33F2F-8BBA-7A60-ED79-5616A88A6AA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F41421-5C31-4E95-B764-8F900BCF178A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5080752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horizont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A891FD04-13B9-BCD8-1235-8B6A30CD5028}"/>
              </a:ext>
            </a:extLst>
          </p:cNvPr>
          <p:cNvSpPr/>
          <p:nvPr userDrawn="1"/>
        </p:nvSpPr>
        <p:spPr>
          <a:xfrm>
            <a:off x="0" y="0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2AE8C37F-2CB7-7EB3-2044-8A7AEDFBF89E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15">
            <a:extLst>
              <a:ext uri="{FF2B5EF4-FFF2-40B4-BE49-F238E27FC236}">
                <a16:creationId xmlns:a16="http://schemas.microsoft.com/office/drawing/2014/main" id="{2CF4E0AE-0840-CF33-49E7-55B45D7A81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1" y="1879600"/>
            <a:ext cx="10923588" cy="1547813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9" name="Ondertitel 2"/>
          <p:cNvSpPr>
            <a:spLocks noGrp="1"/>
          </p:cNvSpPr>
          <p:nvPr>
            <p:ph type="subTitle" idx="1"/>
          </p:nvPr>
        </p:nvSpPr>
        <p:spPr>
          <a:xfrm>
            <a:off x="635000" y="3749487"/>
            <a:ext cx="10925176" cy="2077232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10" name="Tijdelijke aanduiding voor tekst 16"/>
          <p:cNvSpPr>
            <a:spLocks noGrp="1"/>
          </p:cNvSpPr>
          <p:nvPr>
            <p:ph type="body" sz="quarter" idx="10"/>
          </p:nvPr>
        </p:nvSpPr>
        <p:spPr>
          <a:xfrm>
            <a:off x="633413" y="5829387"/>
            <a:ext cx="5005388" cy="389360"/>
          </a:xfrm>
        </p:spPr>
        <p:txBody>
          <a:bodyPr lIns="86400" anchor="b" anchorCtr="0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datum 14">
            <a:extLst>
              <a:ext uri="{FF2B5EF4-FFF2-40B4-BE49-F238E27FC236}">
                <a16:creationId xmlns:a16="http://schemas.microsoft.com/office/drawing/2014/main" id="{A2B9F811-CB03-501C-2413-C40D7919388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5">
            <a:extLst>
              <a:ext uri="{FF2B5EF4-FFF2-40B4-BE49-F238E27FC236}">
                <a16:creationId xmlns:a16="http://schemas.microsoft.com/office/drawing/2014/main" id="{C61BC9AA-01DD-3CE6-23EE-E809C340806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6">
            <a:extLst>
              <a:ext uri="{FF2B5EF4-FFF2-40B4-BE49-F238E27FC236}">
                <a16:creationId xmlns:a16="http://schemas.microsoft.com/office/drawing/2014/main" id="{F7CF1C39-667A-27FE-C8B9-CC1410AC3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C6A0B5-72D9-49FC-8EA6-BD0A1335C4BD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0431155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59B7C2BB-6FB1-445C-01CE-301F5C7615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3" name="Afbeelding 9">
            <a:extLst>
              <a:ext uri="{FF2B5EF4-FFF2-40B4-BE49-F238E27FC236}">
                <a16:creationId xmlns:a16="http://schemas.microsoft.com/office/drawing/2014/main" id="{FFA36ACA-0644-8D14-7ACD-1E7D020F2C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C3FD98CA-3232-5F9C-443F-C362845DD767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4999" y="2636839"/>
            <a:ext cx="5003801" cy="1584325"/>
          </a:xfrm>
        </p:spPr>
        <p:txBody>
          <a:bodyPr anchor="ctr"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5"/>
          </p:nvPr>
        </p:nvSpPr>
        <p:spPr>
          <a:xfrm>
            <a:off x="7791732" y="916925"/>
            <a:ext cx="3766856" cy="817563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ijdelijke aanduiding voor tekst 4"/>
          <p:cNvSpPr>
            <a:spLocks noGrp="1"/>
          </p:cNvSpPr>
          <p:nvPr>
            <p:ph type="body" sz="quarter" idx="16"/>
          </p:nvPr>
        </p:nvSpPr>
        <p:spPr>
          <a:xfrm>
            <a:off x="7791732" y="2061911"/>
            <a:ext cx="3766856" cy="817563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Tijdelijke aanduiding voor tekst 4"/>
          <p:cNvSpPr>
            <a:spLocks noGrp="1"/>
          </p:cNvSpPr>
          <p:nvPr>
            <p:ph type="body" sz="quarter" idx="17"/>
          </p:nvPr>
        </p:nvSpPr>
        <p:spPr>
          <a:xfrm>
            <a:off x="7791732" y="3211200"/>
            <a:ext cx="3766856" cy="817563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Tijdelijke aanduiding voor tekst 4"/>
          <p:cNvSpPr>
            <a:spLocks noGrp="1"/>
          </p:cNvSpPr>
          <p:nvPr>
            <p:ph type="body" sz="quarter" idx="18"/>
          </p:nvPr>
        </p:nvSpPr>
        <p:spPr>
          <a:xfrm>
            <a:off x="7791732" y="4352400"/>
            <a:ext cx="3766856" cy="817563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7" name="Tijdelijke aanduiding voor tekst 4"/>
          <p:cNvSpPr>
            <a:spLocks noGrp="1"/>
          </p:cNvSpPr>
          <p:nvPr>
            <p:ph type="body" sz="quarter" idx="19"/>
          </p:nvPr>
        </p:nvSpPr>
        <p:spPr>
          <a:xfrm>
            <a:off x="7791732" y="5497200"/>
            <a:ext cx="3766856" cy="817563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6418728" y="998445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3" name="Tijdelijke aanduiding voor tekst 2"/>
          <p:cNvSpPr>
            <a:spLocks noGrp="1"/>
          </p:cNvSpPr>
          <p:nvPr>
            <p:ph type="body" sz="quarter" idx="11"/>
          </p:nvPr>
        </p:nvSpPr>
        <p:spPr>
          <a:xfrm>
            <a:off x="6418728" y="2143675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4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6418728" y="3288904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5" name="Tijdelijke aanduiding voor tekst 2"/>
          <p:cNvSpPr>
            <a:spLocks noGrp="1"/>
          </p:cNvSpPr>
          <p:nvPr>
            <p:ph type="body" sz="quarter" idx="13"/>
          </p:nvPr>
        </p:nvSpPr>
        <p:spPr>
          <a:xfrm>
            <a:off x="6418728" y="4434133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6" name="Tijdelijke aanduiding voor tekst 2"/>
          <p:cNvSpPr>
            <a:spLocks noGrp="1"/>
          </p:cNvSpPr>
          <p:nvPr>
            <p:ph type="body" sz="quarter" idx="14"/>
          </p:nvPr>
        </p:nvSpPr>
        <p:spPr>
          <a:xfrm>
            <a:off x="6418728" y="5579361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018E749A-063F-DC65-271D-122776ADB17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8">
            <a:extLst>
              <a:ext uri="{FF2B5EF4-FFF2-40B4-BE49-F238E27FC236}">
                <a16:creationId xmlns:a16="http://schemas.microsoft.com/office/drawing/2014/main" id="{3107D57F-8284-7FFB-804B-5E889760887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17">
            <a:extLst>
              <a:ext uri="{FF2B5EF4-FFF2-40B4-BE49-F238E27FC236}">
                <a16:creationId xmlns:a16="http://schemas.microsoft.com/office/drawing/2014/main" id="{11EB5C4B-D69A-6933-9A6C-DA81A8487CF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EEA6A2-CCC1-4612-A55A-F5741580E38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9261460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63288107-6B98-AC11-4A66-A0F99F3E359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3" name="Afbeelding 9">
            <a:extLst>
              <a:ext uri="{FF2B5EF4-FFF2-40B4-BE49-F238E27FC236}">
                <a16:creationId xmlns:a16="http://schemas.microsoft.com/office/drawing/2014/main" id="{4BBA6F2F-9737-DB71-203F-C6F18B2779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681C319C-E83C-6C95-8907-2068AACE8E60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11" name="Tijdelijke aanduiding voor tekst 11"/>
          <p:cNvSpPr>
            <a:spLocks noGrp="1"/>
          </p:cNvSpPr>
          <p:nvPr>
            <p:ph type="body" sz="quarter" idx="13"/>
          </p:nvPr>
        </p:nvSpPr>
        <p:spPr>
          <a:xfrm>
            <a:off x="6553200" y="2289600"/>
            <a:ext cx="5004000" cy="3931813"/>
          </a:xfrm>
        </p:spPr>
        <p:txBody>
          <a:bodyPr/>
          <a:lstStyle>
            <a:lvl1pPr marL="457189" indent="-457189">
              <a:buClr>
                <a:schemeClr val="bg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3983" indent="-215995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553200" y="1051202"/>
            <a:ext cx="5004000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4" name="Tijdelijke aanduiding voor afbeelding 2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8243" cy="6858000"/>
          </a:xfrm>
          <a:custGeom>
            <a:avLst/>
            <a:gdLst>
              <a:gd name="connsiteX0" fmla="*/ 0 w 6098242"/>
              <a:gd name="connsiteY0" fmla="*/ 0 h 6858000"/>
              <a:gd name="connsiteX1" fmla="*/ 5862000 w 6098242"/>
              <a:gd name="connsiteY1" fmla="*/ 0 h 6858000"/>
              <a:gd name="connsiteX2" fmla="*/ 5862000 w 6098242"/>
              <a:gd name="connsiteY2" fmla="*/ 708025 h 6858000"/>
              <a:gd name="connsiteX3" fmla="*/ 6098242 w 6098242"/>
              <a:gd name="connsiteY3" fmla="*/ 708025 h 6858000"/>
              <a:gd name="connsiteX4" fmla="*/ 6098242 w 6098242"/>
              <a:gd name="connsiteY4" fmla="*/ 6620400 h 6858000"/>
              <a:gd name="connsiteX5" fmla="*/ 5862000 w 6098242"/>
              <a:gd name="connsiteY5" fmla="*/ 6620400 h 6858000"/>
              <a:gd name="connsiteX6" fmla="*/ 5862000 w 6098242"/>
              <a:gd name="connsiteY6" fmla="*/ 6858000 h 6858000"/>
              <a:gd name="connsiteX7" fmla="*/ 0 w 609824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8242" h="6858000">
                <a:moveTo>
                  <a:pt x="0" y="0"/>
                </a:moveTo>
                <a:lnTo>
                  <a:pt x="5862000" y="0"/>
                </a:lnTo>
                <a:lnTo>
                  <a:pt x="5862000" y="708025"/>
                </a:lnTo>
                <a:lnTo>
                  <a:pt x="6098242" y="708025"/>
                </a:lnTo>
                <a:lnTo>
                  <a:pt x="6098242" y="6620400"/>
                </a:lnTo>
                <a:lnTo>
                  <a:pt x="5862000" y="6620400"/>
                </a:lnTo>
                <a:lnTo>
                  <a:pt x="586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</p:spPr>
        <p:txBody>
          <a:bodyPr wrap="square" lIns="612000" anchor="ctr" anchorCtr="0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5" name="Tijdelijke aanduiding voor datum 16">
            <a:extLst>
              <a:ext uri="{FF2B5EF4-FFF2-40B4-BE49-F238E27FC236}">
                <a16:creationId xmlns:a16="http://schemas.microsoft.com/office/drawing/2014/main" id="{AB822C31-1B36-099A-51A8-33FE8C49D1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7">
            <a:extLst>
              <a:ext uri="{FF2B5EF4-FFF2-40B4-BE49-F238E27FC236}">
                <a16:creationId xmlns:a16="http://schemas.microsoft.com/office/drawing/2014/main" id="{5A25EFDE-5FDE-9E75-9143-BFD3501F5C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8">
            <a:extLst>
              <a:ext uri="{FF2B5EF4-FFF2-40B4-BE49-F238E27FC236}">
                <a16:creationId xmlns:a16="http://schemas.microsoft.com/office/drawing/2014/main" id="{23CDDFDB-4CED-AB67-BA84-A9805CDCE0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AC2952-AF31-41D5-A6C4-AB25A967F039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8360664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2D0244DE-9EF5-C429-5CC6-669E8318F6E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9">
            <a:extLst>
              <a:ext uri="{FF2B5EF4-FFF2-40B4-BE49-F238E27FC236}">
                <a16:creationId xmlns:a16="http://schemas.microsoft.com/office/drawing/2014/main" id="{EE9EE63E-8AB4-1BF2-6003-ED72F6CF54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B9A18258-3E19-D42A-925A-327F73837BFE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999" y="2636838"/>
            <a:ext cx="5003801" cy="1584325"/>
          </a:xfrm>
        </p:spPr>
        <p:txBody>
          <a:bodyPr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4999" y="4221163"/>
            <a:ext cx="5003801" cy="2000251"/>
          </a:xfrm>
        </p:spPr>
        <p:txBody>
          <a:bodyPr tIns="90000" rIns="100800"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34999" y="1171575"/>
            <a:ext cx="5003801" cy="1463675"/>
          </a:xfrm>
        </p:spPr>
        <p:txBody>
          <a:bodyPr rIns="0" anchor="b" anchorCtr="0"/>
          <a:lstStyle>
            <a:lvl1pPr marL="0" indent="0" algn="r">
              <a:buNone/>
              <a:defRPr sz="9600" b="1" i="0">
                <a:solidFill>
                  <a:schemeClr val="bg1"/>
                </a:solidFill>
              </a:defRPr>
            </a:lvl1pPr>
            <a:lvl2pPr marL="313192" indent="0" algn="r">
              <a:buNone/>
              <a:defRPr/>
            </a:lvl2pPr>
            <a:lvl3pPr marL="629984" indent="0" algn="r">
              <a:buNone/>
              <a:defRPr/>
            </a:lvl3pPr>
            <a:lvl4pPr marL="943176" indent="0" algn="r">
              <a:buNone/>
              <a:defRPr/>
            </a:lvl4pPr>
            <a:lvl5pPr marL="1259969" indent="0" algn="r">
              <a:buNone/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7" name="Tijdelijke aanduiding voor datum 9">
            <a:extLst>
              <a:ext uri="{FF2B5EF4-FFF2-40B4-BE49-F238E27FC236}">
                <a16:creationId xmlns:a16="http://schemas.microsoft.com/office/drawing/2014/main" id="{5F78BD09-09AC-AD5B-13C8-66D73949ACB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voettekst 11">
            <a:extLst>
              <a:ext uri="{FF2B5EF4-FFF2-40B4-BE49-F238E27FC236}">
                <a16:creationId xmlns:a16="http://schemas.microsoft.com/office/drawing/2014/main" id="{A5A00363-349C-F4B9-BDA3-6125CC991F0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0" name="Tijdelijke aanduiding voor dianummer 12">
            <a:extLst>
              <a:ext uri="{FF2B5EF4-FFF2-40B4-BE49-F238E27FC236}">
                <a16:creationId xmlns:a16="http://schemas.microsoft.com/office/drawing/2014/main" id="{0BEC09D8-399C-0F7F-4330-7A4705FCB1E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303712-9D76-41C8-8AA1-BAC914FE0BA5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7298877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35000" y="2276475"/>
            <a:ext cx="5226051" cy="394493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553199" y="2276475"/>
            <a:ext cx="5004000" cy="394493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5" name="Tijdelijke aanduiding voor datum 3">
            <a:extLst>
              <a:ext uri="{FF2B5EF4-FFF2-40B4-BE49-F238E27FC236}">
                <a16:creationId xmlns:a16="http://schemas.microsoft.com/office/drawing/2014/main" id="{60F132FE-C40B-6B32-A421-F532C81E8E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4">
            <a:extLst>
              <a:ext uri="{FF2B5EF4-FFF2-40B4-BE49-F238E27FC236}">
                <a16:creationId xmlns:a16="http://schemas.microsoft.com/office/drawing/2014/main" id="{58EC3151-E507-8C31-3A5D-8E8F8191D4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750E9E54-AD1E-AEDF-4058-F99F212F30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06F834-B146-4BF4-9534-B6A0B29C695F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5723986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5001" y="2306037"/>
            <a:ext cx="5004000" cy="648000"/>
          </a:xfrm>
          <a:noFill/>
        </p:spPr>
        <p:txBody>
          <a:bodyPr lIns="180000" tIns="180000" rIns="180000" bIns="72000" anchor="b">
            <a:no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35001" y="2953739"/>
            <a:ext cx="5004000" cy="3267676"/>
          </a:xfrm>
          <a:noFill/>
        </p:spPr>
        <p:txBody>
          <a:bodyPr lIns="180000" tIns="180000" rIns="180000" bIns="72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553200" y="2306038"/>
            <a:ext cx="5004000" cy="647228"/>
          </a:xfrm>
          <a:noFill/>
        </p:spPr>
        <p:txBody>
          <a:bodyPr lIns="180000" tIns="180000" rIns="180000" bIns="72000" anchor="b">
            <a:no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553201" y="2953739"/>
            <a:ext cx="5005388" cy="3267676"/>
          </a:xfrm>
          <a:noFill/>
        </p:spPr>
        <p:txBody>
          <a:bodyPr lIns="180000" tIns="180000" rIns="180000" bIns="72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5FCAD094-764C-751A-4A77-2CD2A0E9F4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4">
            <a:extLst>
              <a:ext uri="{FF2B5EF4-FFF2-40B4-BE49-F238E27FC236}">
                <a16:creationId xmlns:a16="http://schemas.microsoft.com/office/drawing/2014/main" id="{46C517EF-6047-1C4E-FF01-0BFBE5FF5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5">
            <a:extLst>
              <a:ext uri="{FF2B5EF4-FFF2-40B4-BE49-F238E27FC236}">
                <a16:creationId xmlns:a16="http://schemas.microsoft.com/office/drawing/2014/main" id="{F8EFCD9A-2707-7AE0-EAB5-60E59DBCE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9F7F4E-7814-4075-930D-FAB07B92F73F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5322470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datum 3">
            <a:extLst>
              <a:ext uri="{FF2B5EF4-FFF2-40B4-BE49-F238E27FC236}">
                <a16:creationId xmlns:a16="http://schemas.microsoft.com/office/drawing/2014/main" id="{76ED3C6C-0E5D-1134-F501-FF7579870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6331AB13-1E24-79EE-A688-531A1161F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44EE6081-B630-AF21-5DF7-E81C65ADB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2988D3-46C9-452C-90F6-99C324D180F0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1096567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36E6C406-3AAF-15B8-0311-1ABB4B3492F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6909B901-0A6F-DFD6-2D7C-B3E9E612B7CB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1880E081-FBB5-4C22-8633-216B248F4067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5" name="Afbeelding 16">
            <a:extLst>
              <a:ext uri="{FF2B5EF4-FFF2-40B4-BE49-F238E27FC236}">
                <a16:creationId xmlns:a16="http://schemas.microsoft.com/office/drawing/2014/main" id="{053C872D-B410-BE93-EF62-347E4A116F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Ondertitel 2"/>
          <p:cNvSpPr>
            <a:spLocks noGrp="1"/>
          </p:cNvSpPr>
          <p:nvPr>
            <p:ph type="subTitle" idx="1"/>
          </p:nvPr>
        </p:nvSpPr>
        <p:spPr>
          <a:xfrm>
            <a:off x="6556176" y="3427413"/>
            <a:ext cx="5004000" cy="240464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25" name="Tijdelijke aanduiding voor tekst 16"/>
          <p:cNvSpPr>
            <a:spLocks noGrp="1"/>
          </p:cNvSpPr>
          <p:nvPr>
            <p:ph type="body" sz="quarter" idx="2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tel 1"/>
          <p:cNvSpPr>
            <a:spLocks noGrp="1"/>
          </p:cNvSpPr>
          <p:nvPr>
            <p:ph type="ctrTitle"/>
          </p:nvPr>
        </p:nvSpPr>
        <p:spPr>
          <a:xfrm>
            <a:off x="6554588" y="2024063"/>
            <a:ext cx="5004000" cy="1403350"/>
          </a:xfrm>
        </p:spPr>
        <p:txBody>
          <a:bodyPr tIns="90000" bIns="9000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6" name="Tijdelijke aanduiding voor datum 17">
            <a:extLst>
              <a:ext uri="{FF2B5EF4-FFF2-40B4-BE49-F238E27FC236}">
                <a16:creationId xmlns:a16="http://schemas.microsoft.com/office/drawing/2014/main" id="{4C50751E-C909-9927-FF5A-F250EBD9D24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8">
            <a:extLst>
              <a:ext uri="{FF2B5EF4-FFF2-40B4-BE49-F238E27FC236}">
                <a16:creationId xmlns:a16="http://schemas.microsoft.com/office/drawing/2014/main" id="{77A199AA-7658-64F5-DC32-58F2051B41C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9">
            <a:extLst>
              <a:ext uri="{FF2B5EF4-FFF2-40B4-BE49-F238E27FC236}">
                <a16:creationId xmlns:a16="http://schemas.microsoft.com/office/drawing/2014/main" id="{592E324F-F298-22FF-A1C2-4D5C983D444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231C97-A469-4FD2-AF9A-288837211EF1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41819264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8E4A9919-3DED-5C4E-8E9F-58B1665A7F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4">
            <a:extLst>
              <a:ext uri="{FF2B5EF4-FFF2-40B4-BE49-F238E27FC236}">
                <a16:creationId xmlns:a16="http://schemas.microsoft.com/office/drawing/2014/main" id="{2FF0F06C-1606-2011-6DF3-13529D985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5">
            <a:extLst>
              <a:ext uri="{FF2B5EF4-FFF2-40B4-BE49-F238E27FC236}">
                <a16:creationId xmlns:a16="http://schemas.microsoft.com/office/drawing/2014/main" id="{0B464D1E-03F7-8330-86D3-9582E750B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D6B5B8-5E6C-4805-9C0C-B79072AE0FC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9417625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635000" y="3427414"/>
            <a:ext cx="5003800" cy="2793999"/>
          </a:xfrm>
        </p:spPr>
        <p:txBody>
          <a:bodyPr anchor="t" anchorCtr="0"/>
          <a:lstStyle>
            <a:lvl1pPr marL="0" indent="0">
              <a:buNone/>
              <a:defRPr sz="20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ijdelijke aanduiding voor inhoud 9"/>
          <p:cNvSpPr>
            <a:spLocks noGrp="1"/>
          </p:cNvSpPr>
          <p:nvPr>
            <p:ph sz="quarter" idx="13"/>
          </p:nvPr>
        </p:nvSpPr>
        <p:spPr>
          <a:xfrm>
            <a:off x="6554588" y="1052514"/>
            <a:ext cx="5004000" cy="51689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35000" y="1052514"/>
            <a:ext cx="5003800" cy="948047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91A051E2-028C-AD7C-061D-977B03A79DA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3D2B4CA-5FE6-64A9-C8CB-30012A0316F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27C1C30-D4CE-D150-E346-31C0F0971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084062-997A-42AC-910B-CC0B31191171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0166175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te tekst 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5001" y="1052515"/>
            <a:ext cx="10923588" cy="4024800"/>
          </a:xfrm>
        </p:spPr>
        <p:txBody>
          <a:bodyPr>
            <a:normAutofit/>
          </a:bodyPr>
          <a:lstStyle>
            <a:lvl1pPr algn="l"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Ondertitel 2"/>
          <p:cNvSpPr>
            <a:spLocks noGrp="1"/>
          </p:cNvSpPr>
          <p:nvPr>
            <p:ph type="subTitle" idx="1"/>
          </p:nvPr>
        </p:nvSpPr>
        <p:spPr>
          <a:xfrm>
            <a:off x="635000" y="5077315"/>
            <a:ext cx="5461000" cy="1144099"/>
          </a:xfrm>
        </p:spPr>
        <p:txBody>
          <a:bodyPr lIns="162000" tIns="90000" rIns="90000"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2" name="Tijdelijke aanduiding voor datum 8">
            <a:extLst>
              <a:ext uri="{FF2B5EF4-FFF2-40B4-BE49-F238E27FC236}">
                <a16:creationId xmlns:a16="http://schemas.microsoft.com/office/drawing/2014/main" id="{C14F9C3B-8C19-5BE0-1DC8-140A416EB4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9">
            <a:extLst>
              <a:ext uri="{FF2B5EF4-FFF2-40B4-BE49-F238E27FC236}">
                <a16:creationId xmlns:a16="http://schemas.microsoft.com/office/drawing/2014/main" id="{8BC34951-58D1-9BE7-04EE-164DC78698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10">
            <a:extLst>
              <a:ext uri="{FF2B5EF4-FFF2-40B4-BE49-F238E27FC236}">
                <a16:creationId xmlns:a16="http://schemas.microsoft.com/office/drawing/2014/main" id="{E02FCFA5-71F6-5C9E-D912-9D793BD55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556D2FE-E9DD-4E43-B22C-F71642EA32B3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228759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te teks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5001" y="1052515"/>
            <a:ext cx="10923588" cy="4024800"/>
          </a:xfrm>
        </p:spPr>
        <p:txBody>
          <a:bodyPr>
            <a:normAutofit/>
          </a:bodyPr>
          <a:lstStyle>
            <a:lvl1pPr algn="l"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Ondertitel 2"/>
          <p:cNvSpPr>
            <a:spLocks noGrp="1"/>
          </p:cNvSpPr>
          <p:nvPr>
            <p:ph type="subTitle" idx="1"/>
          </p:nvPr>
        </p:nvSpPr>
        <p:spPr>
          <a:xfrm>
            <a:off x="635000" y="5077315"/>
            <a:ext cx="5461000" cy="1144099"/>
          </a:xfrm>
        </p:spPr>
        <p:txBody>
          <a:bodyPr lIns="162000" tIns="90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2" name="Tijdelijke aanduiding voor datum 5">
            <a:extLst>
              <a:ext uri="{FF2B5EF4-FFF2-40B4-BE49-F238E27FC236}">
                <a16:creationId xmlns:a16="http://schemas.microsoft.com/office/drawing/2014/main" id="{EBB086BF-E81D-7583-2484-3191733D23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6">
            <a:extLst>
              <a:ext uri="{FF2B5EF4-FFF2-40B4-BE49-F238E27FC236}">
                <a16:creationId xmlns:a16="http://schemas.microsoft.com/office/drawing/2014/main" id="{A8C9504D-9B9C-5F04-3AD3-B7DC1A50B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7">
            <a:extLst>
              <a:ext uri="{FF2B5EF4-FFF2-40B4-BE49-F238E27FC236}">
                <a16:creationId xmlns:a16="http://schemas.microsoft.com/office/drawing/2014/main" id="{7824ED75-5DBC-5562-6D69-AA373480C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1E4F2B-0D24-4C33-B801-464C30E157A8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459468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vlak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0E212D48-24B9-C269-95FA-A0FAE3E13C6D}"/>
              </a:ext>
            </a:extLst>
          </p:cNvPr>
          <p:cNvSpPr/>
          <p:nvPr userDrawn="1"/>
        </p:nvSpPr>
        <p:spPr>
          <a:xfrm>
            <a:off x="6096000" y="-1588"/>
            <a:ext cx="6096000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nl-NL" sz="1000">
              <a:solidFill>
                <a:schemeClr val="bg1"/>
              </a:solidFill>
            </a:endParaRPr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FB54BE41-3B97-2198-6F7F-E13E98D25C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3E6C0E6E-793F-31C9-ED44-641C793A8F52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35000" y="2636839"/>
            <a:ext cx="5003799" cy="1584324"/>
          </a:xfrm>
        </p:spPr>
        <p:txBody>
          <a:bodyPr anchor="ctr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6554588" y="1066800"/>
            <a:ext cx="5004000" cy="5154613"/>
          </a:xfrm>
        </p:spPr>
        <p:txBody>
          <a:bodyPr anchor="ctr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10">
            <a:extLst>
              <a:ext uri="{FF2B5EF4-FFF2-40B4-BE49-F238E27FC236}">
                <a16:creationId xmlns:a16="http://schemas.microsoft.com/office/drawing/2014/main" id="{C58DDCA7-E243-D280-3502-C55935FC4D1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voettekst 11">
            <a:extLst>
              <a:ext uri="{FF2B5EF4-FFF2-40B4-BE49-F238E27FC236}">
                <a16:creationId xmlns:a16="http://schemas.microsoft.com/office/drawing/2014/main" id="{BA175D04-97BD-775D-6921-1404CBED35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9" name="Tijdelijke aanduiding voor dianummer 12">
            <a:extLst>
              <a:ext uri="{FF2B5EF4-FFF2-40B4-BE49-F238E27FC236}">
                <a16:creationId xmlns:a16="http://schemas.microsoft.com/office/drawing/2014/main" id="{F690EB90-999D-6331-9059-59199BF4434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C1E8EE-37AA-4829-9194-7D9CF5D3281F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2846437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vla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022EEFC3-319F-2AEC-FC07-441476411858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3" name="Afbeelding 9">
            <a:extLst>
              <a:ext uri="{FF2B5EF4-FFF2-40B4-BE49-F238E27FC236}">
                <a16:creationId xmlns:a16="http://schemas.microsoft.com/office/drawing/2014/main" id="{6300B2B1-A01F-524F-36E2-A1AA38C06A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7604EE51-4902-C87A-2FA2-5039190EE841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34999" y="2636839"/>
            <a:ext cx="5004000" cy="1584324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/>
          </p:nvPr>
        </p:nvSpPr>
        <p:spPr>
          <a:xfrm>
            <a:off x="6553199" y="1052514"/>
            <a:ext cx="5004000" cy="5168900"/>
          </a:xfrm>
        </p:spPr>
        <p:txBody>
          <a:bodyPr anchor="ctr" anchorCtr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12">
            <a:extLst>
              <a:ext uri="{FF2B5EF4-FFF2-40B4-BE49-F238E27FC236}">
                <a16:creationId xmlns:a16="http://schemas.microsoft.com/office/drawing/2014/main" id="{081C99DE-E128-212C-C5B8-7D4C24649AC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voettekst 13">
            <a:extLst>
              <a:ext uri="{FF2B5EF4-FFF2-40B4-BE49-F238E27FC236}">
                <a16:creationId xmlns:a16="http://schemas.microsoft.com/office/drawing/2014/main" id="{BFA4E550-86FE-F50C-C6E8-9CBF3CD3180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9" name="Tijdelijke aanduiding voor dianummer 14">
            <a:extLst>
              <a:ext uri="{FF2B5EF4-FFF2-40B4-BE49-F238E27FC236}">
                <a16:creationId xmlns:a16="http://schemas.microsoft.com/office/drawing/2014/main" id="{2AE44CC6-4F3A-7845-5B18-1FD80C05715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F3E91D-F77D-43A3-9591-AFD369B0258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046845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635000" y="3427413"/>
            <a:ext cx="5003800" cy="2794000"/>
          </a:xfrm>
        </p:spPr>
        <p:txBody>
          <a:bodyPr anchor="t" anchorCtr="0"/>
          <a:lstStyle>
            <a:lvl1pPr marL="0" indent="0">
              <a:buNone/>
              <a:defRPr sz="20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635000" y="1052514"/>
            <a:ext cx="5003800" cy="948047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8" name="Tijdelijke aanduiding voor afbeelding 9"/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29238 w 6096000"/>
              <a:gd name="connsiteY0" fmla="*/ 0 h 6860381"/>
              <a:gd name="connsiteX1" fmla="*/ 6091238 w 6096000"/>
              <a:gd name="connsiteY1" fmla="*/ 0 h 6860381"/>
              <a:gd name="connsiteX2" fmla="*/ 6091238 w 6096000"/>
              <a:gd name="connsiteY2" fmla="*/ 2381 h 6860381"/>
              <a:gd name="connsiteX3" fmla="*/ 6096000 w 6096000"/>
              <a:gd name="connsiteY3" fmla="*/ 2381 h 6860381"/>
              <a:gd name="connsiteX4" fmla="*/ 6096000 w 6096000"/>
              <a:gd name="connsiteY4" fmla="*/ 6860381 h 6860381"/>
              <a:gd name="connsiteX5" fmla="*/ 6095999 w 6096000"/>
              <a:gd name="connsiteY5" fmla="*/ 6860381 h 6860381"/>
              <a:gd name="connsiteX6" fmla="*/ 3832225 w 6096000"/>
              <a:gd name="connsiteY6" fmla="*/ 6860381 h 6860381"/>
              <a:gd name="connsiteX7" fmla="*/ 232201 w 6096000"/>
              <a:gd name="connsiteY7" fmla="*/ 6860381 h 6860381"/>
              <a:gd name="connsiteX8" fmla="*/ 232201 w 6096000"/>
              <a:gd name="connsiteY8" fmla="*/ 6626381 h 6860381"/>
              <a:gd name="connsiteX9" fmla="*/ 0 w 6096000"/>
              <a:gd name="connsiteY9" fmla="*/ 6626381 h 6860381"/>
              <a:gd name="connsiteX10" fmla="*/ 0 w 6096000"/>
              <a:gd name="connsiteY10" fmla="*/ 5488781 h 6860381"/>
              <a:gd name="connsiteX11" fmla="*/ 1 w 6096000"/>
              <a:gd name="connsiteY11" fmla="*/ 5488781 h 6860381"/>
              <a:gd name="connsiteX12" fmla="*/ 1 w 6096000"/>
              <a:gd name="connsiteY12" fmla="*/ 948531 h 6860381"/>
              <a:gd name="connsiteX13" fmla="*/ 1 w 6096000"/>
              <a:gd name="connsiteY13" fmla="*/ 711200 h 6860381"/>
              <a:gd name="connsiteX14" fmla="*/ 1 w 6096000"/>
              <a:gd name="connsiteY14" fmla="*/ 2381 h 6860381"/>
              <a:gd name="connsiteX15" fmla="*/ 2 w 6096000"/>
              <a:gd name="connsiteY15" fmla="*/ 2381 h 6860381"/>
              <a:gd name="connsiteX16" fmla="*/ 2 w 6096000"/>
              <a:gd name="connsiteY16" fmla="*/ 711994 h 6860381"/>
              <a:gd name="connsiteX17" fmla="*/ 233366 w 6096000"/>
              <a:gd name="connsiteY17" fmla="*/ 711994 h 6860381"/>
              <a:gd name="connsiteX18" fmla="*/ 233366 w 6096000"/>
              <a:gd name="connsiteY18" fmla="*/ 2381 h 6860381"/>
              <a:gd name="connsiteX19" fmla="*/ 229238 w 6096000"/>
              <a:gd name="connsiteY19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0" h="6860381">
                <a:moveTo>
                  <a:pt x="229238" y="0"/>
                </a:moveTo>
                <a:lnTo>
                  <a:pt x="6091238" y="0"/>
                </a:lnTo>
                <a:lnTo>
                  <a:pt x="6091238" y="2381"/>
                </a:lnTo>
                <a:lnTo>
                  <a:pt x="6096000" y="2381"/>
                </a:lnTo>
                <a:lnTo>
                  <a:pt x="6096000" y="6860381"/>
                </a:lnTo>
                <a:lnTo>
                  <a:pt x="6095999" y="6860381"/>
                </a:lnTo>
                <a:lnTo>
                  <a:pt x="3832225" y="6860381"/>
                </a:lnTo>
                <a:lnTo>
                  <a:pt x="232201" y="6860381"/>
                </a:lnTo>
                <a:lnTo>
                  <a:pt x="232201" y="6626381"/>
                </a:lnTo>
                <a:lnTo>
                  <a:pt x="0" y="6626381"/>
                </a:lnTo>
                <a:lnTo>
                  <a:pt x="0" y="5488781"/>
                </a:lnTo>
                <a:lnTo>
                  <a:pt x="1" y="5488781"/>
                </a:lnTo>
                <a:lnTo>
                  <a:pt x="1" y="948531"/>
                </a:lnTo>
                <a:lnTo>
                  <a:pt x="1" y="711200"/>
                </a:lnTo>
                <a:lnTo>
                  <a:pt x="1" y="2381"/>
                </a:lnTo>
                <a:lnTo>
                  <a:pt x="2" y="2381"/>
                </a:lnTo>
                <a:lnTo>
                  <a:pt x="2" y="711994"/>
                </a:lnTo>
                <a:lnTo>
                  <a:pt x="233366" y="711994"/>
                </a:lnTo>
                <a:lnTo>
                  <a:pt x="233366" y="2381"/>
                </a:lnTo>
                <a:lnTo>
                  <a:pt x="229238" y="23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B03E6AC0-78F5-053A-021B-4C8F256F98F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4">
            <a:extLst>
              <a:ext uri="{FF2B5EF4-FFF2-40B4-BE49-F238E27FC236}">
                <a16:creationId xmlns:a16="http://schemas.microsoft.com/office/drawing/2014/main" id="{FC78994E-43E8-9CCB-00C8-ADBB7966BA4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D199F0EA-9D27-62B4-9CE9-CF797C274A3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7F9A80-2466-4BDB-9E10-9354608D80D0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1231693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verticaal k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A4688E14-B883-0586-53A2-30DEC58E5E0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F931CD50-74FA-B45C-F66E-D9C5EF608C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A19FAF22-E286-6C80-CB28-B4FF67EF9512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5"/>
          </p:nvPr>
        </p:nvSpPr>
        <p:spPr>
          <a:xfrm>
            <a:off x="635001" y="2289600"/>
            <a:ext cx="5005388" cy="393541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5" y="1051202"/>
            <a:ext cx="5004595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1" name="Tijdelijke aanduiding voor afbeelding 9"/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29238 w 6096000"/>
              <a:gd name="connsiteY0" fmla="*/ 0 h 6860381"/>
              <a:gd name="connsiteX1" fmla="*/ 6091238 w 6096000"/>
              <a:gd name="connsiteY1" fmla="*/ 0 h 6860381"/>
              <a:gd name="connsiteX2" fmla="*/ 6091238 w 6096000"/>
              <a:gd name="connsiteY2" fmla="*/ 2381 h 6860381"/>
              <a:gd name="connsiteX3" fmla="*/ 6096000 w 6096000"/>
              <a:gd name="connsiteY3" fmla="*/ 2381 h 6860381"/>
              <a:gd name="connsiteX4" fmla="*/ 6096000 w 6096000"/>
              <a:gd name="connsiteY4" fmla="*/ 6860381 h 6860381"/>
              <a:gd name="connsiteX5" fmla="*/ 6095999 w 6096000"/>
              <a:gd name="connsiteY5" fmla="*/ 6860381 h 6860381"/>
              <a:gd name="connsiteX6" fmla="*/ 3832225 w 6096000"/>
              <a:gd name="connsiteY6" fmla="*/ 6860381 h 6860381"/>
              <a:gd name="connsiteX7" fmla="*/ 232201 w 6096000"/>
              <a:gd name="connsiteY7" fmla="*/ 6860381 h 6860381"/>
              <a:gd name="connsiteX8" fmla="*/ 232201 w 6096000"/>
              <a:gd name="connsiteY8" fmla="*/ 6626381 h 6860381"/>
              <a:gd name="connsiteX9" fmla="*/ 0 w 6096000"/>
              <a:gd name="connsiteY9" fmla="*/ 6626381 h 6860381"/>
              <a:gd name="connsiteX10" fmla="*/ 0 w 6096000"/>
              <a:gd name="connsiteY10" fmla="*/ 5488781 h 6860381"/>
              <a:gd name="connsiteX11" fmla="*/ 1 w 6096000"/>
              <a:gd name="connsiteY11" fmla="*/ 5488781 h 6860381"/>
              <a:gd name="connsiteX12" fmla="*/ 1 w 6096000"/>
              <a:gd name="connsiteY12" fmla="*/ 948531 h 6860381"/>
              <a:gd name="connsiteX13" fmla="*/ 1 w 6096000"/>
              <a:gd name="connsiteY13" fmla="*/ 711200 h 6860381"/>
              <a:gd name="connsiteX14" fmla="*/ 1 w 6096000"/>
              <a:gd name="connsiteY14" fmla="*/ 2381 h 6860381"/>
              <a:gd name="connsiteX15" fmla="*/ 2 w 6096000"/>
              <a:gd name="connsiteY15" fmla="*/ 2381 h 6860381"/>
              <a:gd name="connsiteX16" fmla="*/ 2 w 6096000"/>
              <a:gd name="connsiteY16" fmla="*/ 711994 h 6860381"/>
              <a:gd name="connsiteX17" fmla="*/ 233366 w 6096000"/>
              <a:gd name="connsiteY17" fmla="*/ 711994 h 6860381"/>
              <a:gd name="connsiteX18" fmla="*/ 233366 w 6096000"/>
              <a:gd name="connsiteY18" fmla="*/ 2381 h 6860381"/>
              <a:gd name="connsiteX19" fmla="*/ 229238 w 6096000"/>
              <a:gd name="connsiteY19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0" h="6860381">
                <a:moveTo>
                  <a:pt x="229238" y="0"/>
                </a:moveTo>
                <a:lnTo>
                  <a:pt x="6091238" y="0"/>
                </a:lnTo>
                <a:lnTo>
                  <a:pt x="6091238" y="2381"/>
                </a:lnTo>
                <a:lnTo>
                  <a:pt x="6096000" y="2381"/>
                </a:lnTo>
                <a:lnTo>
                  <a:pt x="6096000" y="6860381"/>
                </a:lnTo>
                <a:lnTo>
                  <a:pt x="6095999" y="6860381"/>
                </a:lnTo>
                <a:lnTo>
                  <a:pt x="3832225" y="6860381"/>
                </a:lnTo>
                <a:lnTo>
                  <a:pt x="232201" y="6860381"/>
                </a:lnTo>
                <a:lnTo>
                  <a:pt x="232201" y="6626381"/>
                </a:lnTo>
                <a:lnTo>
                  <a:pt x="0" y="6626381"/>
                </a:lnTo>
                <a:lnTo>
                  <a:pt x="0" y="5488781"/>
                </a:lnTo>
                <a:lnTo>
                  <a:pt x="1" y="5488781"/>
                </a:lnTo>
                <a:lnTo>
                  <a:pt x="1" y="948531"/>
                </a:lnTo>
                <a:lnTo>
                  <a:pt x="1" y="711200"/>
                </a:lnTo>
                <a:lnTo>
                  <a:pt x="1" y="2381"/>
                </a:lnTo>
                <a:lnTo>
                  <a:pt x="2" y="2381"/>
                </a:lnTo>
                <a:lnTo>
                  <a:pt x="2" y="711994"/>
                </a:lnTo>
                <a:lnTo>
                  <a:pt x="233366" y="711994"/>
                </a:lnTo>
                <a:lnTo>
                  <a:pt x="233366" y="2381"/>
                </a:lnTo>
                <a:lnTo>
                  <a:pt x="229238" y="23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19">
            <a:extLst>
              <a:ext uri="{FF2B5EF4-FFF2-40B4-BE49-F238E27FC236}">
                <a16:creationId xmlns:a16="http://schemas.microsoft.com/office/drawing/2014/main" id="{CDEAA6E5-80A4-78FE-69AC-EDB20098D58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20">
            <a:extLst>
              <a:ext uri="{FF2B5EF4-FFF2-40B4-BE49-F238E27FC236}">
                <a16:creationId xmlns:a16="http://schemas.microsoft.com/office/drawing/2014/main" id="{43EEA2EF-30F1-DFEC-7CD0-10DBF57AE29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21">
            <a:extLst>
              <a:ext uri="{FF2B5EF4-FFF2-40B4-BE49-F238E27FC236}">
                <a16:creationId xmlns:a16="http://schemas.microsoft.com/office/drawing/2014/main" id="{FC93E8A8-189D-CB8A-9CD1-88CA88C5D51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021AB5-2E0D-4153-9D6E-49C35785C5A1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1221083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verticaal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6"/>
          </p:nvPr>
        </p:nvSpPr>
        <p:spPr>
          <a:xfrm>
            <a:off x="635000" y="2289600"/>
            <a:ext cx="5003800" cy="39318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051202"/>
            <a:ext cx="5003800" cy="948047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29238 w 6096000"/>
              <a:gd name="connsiteY0" fmla="*/ 0 h 6860381"/>
              <a:gd name="connsiteX1" fmla="*/ 6091238 w 6096000"/>
              <a:gd name="connsiteY1" fmla="*/ 0 h 6860381"/>
              <a:gd name="connsiteX2" fmla="*/ 6091238 w 6096000"/>
              <a:gd name="connsiteY2" fmla="*/ 2381 h 6860381"/>
              <a:gd name="connsiteX3" fmla="*/ 6096000 w 6096000"/>
              <a:gd name="connsiteY3" fmla="*/ 2381 h 6860381"/>
              <a:gd name="connsiteX4" fmla="*/ 6096000 w 6096000"/>
              <a:gd name="connsiteY4" fmla="*/ 6860381 h 6860381"/>
              <a:gd name="connsiteX5" fmla="*/ 6095999 w 6096000"/>
              <a:gd name="connsiteY5" fmla="*/ 6860381 h 6860381"/>
              <a:gd name="connsiteX6" fmla="*/ 3832225 w 6096000"/>
              <a:gd name="connsiteY6" fmla="*/ 6860381 h 6860381"/>
              <a:gd name="connsiteX7" fmla="*/ 232201 w 6096000"/>
              <a:gd name="connsiteY7" fmla="*/ 6860381 h 6860381"/>
              <a:gd name="connsiteX8" fmla="*/ 232201 w 6096000"/>
              <a:gd name="connsiteY8" fmla="*/ 6626381 h 6860381"/>
              <a:gd name="connsiteX9" fmla="*/ 0 w 6096000"/>
              <a:gd name="connsiteY9" fmla="*/ 6626381 h 6860381"/>
              <a:gd name="connsiteX10" fmla="*/ 0 w 6096000"/>
              <a:gd name="connsiteY10" fmla="*/ 5488781 h 6860381"/>
              <a:gd name="connsiteX11" fmla="*/ 1 w 6096000"/>
              <a:gd name="connsiteY11" fmla="*/ 5488781 h 6860381"/>
              <a:gd name="connsiteX12" fmla="*/ 1 w 6096000"/>
              <a:gd name="connsiteY12" fmla="*/ 948531 h 6860381"/>
              <a:gd name="connsiteX13" fmla="*/ 1 w 6096000"/>
              <a:gd name="connsiteY13" fmla="*/ 711200 h 6860381"/>
              <a:gd name="connsiteX14" fmla="*/ 1 w 6096000"/>
              <a:gd name="connsiteY14" fmla="*/ 2381 h 6860381"/>
              <a:gd name="connsiteX15" fmla="*/ 2 w 6096000"/>
              <a:gd name="connsiteY15" fmla="*/ 2381 h 6860381"/>
              <a:gd name="connsiteX16" fmla="*/ 2 w 6096000"/>
              <a:gd name="connsiteY16" fmla="*/ 711994 h 6860381"/>
              <a:gd name="connsiteX17" fmla="*/ 233366 w 6096000"/>
              <a:gd name="connsiteY17" fmla="*/ 711994 h 6860381"/>
              <a:gd name="connsiteX18" fmla="*/ 233366 w 6096000"/>
              <a:gd name="connsiteY18" fmla="*/ 2381 h 6860381"/>
              <a:gd name="connsiteX19" fmla="*/ 229238 w 6096000"/>
              <a:gd name="connsiteY19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0" h="6860381">
                <a:moveTo>
                  <a:pt x="229238" y="0"/>
                </a:moveTo>
                <a:lnTo>
                  <a:pt x="6091238" y="0"/>
                </a:lnTo>
                <a:lnTo>
                  <a:pt x="6091238" y="2381"/>
                </a:lnTo>
                <a:lnTo>
                  <a:pt x="6096000" y="2381"/>
                </a:lnTo>
                <a:lnTo>
                  <a:pt x="6096000" y="6860381"/>
                </a:lnTo>
                <a:lnTo>
                  <a:pt x="6095999" y="6860381"/>
                </a:lnTo>
                <a:lnTo>
                  <a:pt x="3832225" y="6860381"/>
                </a:lnTo>
                <a:lnTo>
                  <a:pt x="232201" y="6860381"/>
                </a:lnTo>
                <a:lnTo>
                  <a:pt x="232201" y="6626381"/>
                </a:lnTo>
                <a:lnTo>
                  <a:pt x="0" y="6626381"/>
                </a:lnTo>
                <a:lnTo>
                  <a:pt x="0" y="5488781"/>
                </a:lnTo>
                <a:lnTo>
                  <a:pt x="1" y="5488781"/>
                </a:lnTo>
                <a:lnTo>
                  <a:pt x="1" y="948531"/>
                </a:lnTo>
                <a:lnTo>
                  <a:pt x="1" y="711200"/>
                </a:lnTo>
                <a:lnTo>
                  <a:pt x="1" y="2381"/>
                </a:lnTo>
                <a:lnTo>
                  <a:pt x="2" y="2381"/>
                </a:lnTo>
                <a:lnTo>
                  <a:pt x="2" y="711994"/>
                </a:lnTo>
                <a:lnTo>
                  <a:pt x="233366" y="711994"/>
                </a:lnTo>
                <a:lnTo>
                  <a:pt x="233366" y="2381"/>
                </a:lnTo>
                <a:lnTo>
                  <a:pt x="229238" y="23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3" name="Tijdelijke aanduiding voor datum 3">
            <a:extLst>
              <a:ext uri="{FF2B5EF4-FFF2-40B4-BE49-F238E27FC236}">
                <a16:creationId xmlns:a16="http://schemas.microsoft.com/office/drawing/2014/main" id="{8AF5D78B-05FA-4B72-1788-A03E0A93606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29FE40A2-922A-5953-EDCC-8F3A3066426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0B089DC0-CC0E-8265-CBD8-73B0FABB3B5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3BE087-D575-462F-B2F4-2BE4A2B0DC70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5799816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horizontaa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69C281AD-3D52-823F-0839-6E7E939817C8}"/>
              </a:ext>
            </a:extLst>
          </p:cNvPr>
          <p:cNvSpPr/>
          <p:nvPr userDrawn="1"/>
        </p:nvSpPr>
        <p:spPr>
          <a:xfrm>
            <a:off x="0" y="0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36908EA1-0EBA-D300-A7E6-9692D4BB0B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1" y="1052514"/>
            <a:ext cx="10923588" cy="2374900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1" y="3749488"/>
            <a:ext cx="10923588" cy="2471925"/>
          </a:xfrm>
        </p:spPr>
        <p:txBody>
          <a:bodyPr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7">
            <a:extLst>
              <a:ext uri="{FF2B5EF4-FFF2-40B4-BE49-F238E27FC236}">
                <a16:creationId xmlns:a16="http://schemas.microsoft.com/office/drawing/2014/main" id="{769F7761-2D36-C4E1-79D8-1BF78B1E43F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9">
            <a:extLst>
              <a:ext uri="{FF2B5EF4-FFF2-40B4-BE49-F238E27FC236}">
                <a16:creationId xmlns:a16="http://schemas.microsoft.com/office/drawing/2014/main" id="{4A43AB7B-37D4-7B80-1ECF-F4F69CF1F52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10">
            <a:extLst>
              <a:ext uri="{FF2B5EF4-FFF2-40B4-BE49-F238E27FC236}">
                <a16:creationId xmlns:a16="http://schemas.microsoft.com/office/drawing/2014/main" id="{DC99F4E7-D694-56BE-1FA1-3906126BE80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97C491-E2D1-417B-91DB-BEED54EB548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7113706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horizont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3527ACCB-91FE-9776-613D-117DB4B5DC96}"/>
              </a:ext>
            </a:extLst>
          </p:cNvPr>
          <p:cNvSpPr/>
          <p:nvPr userDrawn="1"/>
        </p:nvSpPr>
        <p:spPr>
          <a:xfrm>
            <a:off x="0" y="0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5A0388A5-FE11-CCC5-4AC2-E78FF72D4785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5" name="Afbeelding 15">
            <a:extLst>
              <a:ext uri="{FF2B5EF4-FFF2-40B4-BE49-F238E27FC236}">
                <a16:creationId xmlns:a16="http://schemas.microsoft.com/office/drawing/2014/main" id="{F8894CAC-0C32-6967-A750-0F36A1E863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879600"/>
            <a:ext cx="10923588" cy="1547813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9" name="Ondertitel 2"/>
          <p:cNvSpPr>
            <a:spLocks noGrp="1"/>
          </p:cNvSpPr>
          <p:nvPr>
            <p:ph type="subTitle" idx="1"/>
          </p:nvPr>
        </p:nvSpPr>
        <p:spPr>
          <a:xfrm>
            <a:off x="635000" y="3749487"/>
            <a:ext cx="10925176" cy="2077232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10" name="Tijdelijke aanduiding voor tekst 16"/>
          <p:cNvSpPr>
            <a:spLocks noGrp="1"/>
          </p:cNvSpPr>
          <p:nvPr>
            <p:ph type="body" sz="quarter" idx="10"/>
          </p:nvPr>
        </p:nvSpPr>
        <p:spPr>
          <a:xfrm>
            <a:off x="633412" y="5829386"/>
            <a:ext cx="5005388" cy="389360"/>
          </a:xfrm>
        </p:spPr>
        <p:txBody>
          <a:bodyPr lIns="86400" anchor="b" anchorCtr="0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datum 14">
            <a:extLst>
              <a:ext uri="{FF2B5EF4-FFF2-40B4-BE49-F238E27FC236}">
                <a16:creationId xmlns:a16="http://schemas.microsoft.com/office/drawing/2014/main" id="{34BB67CA-29F5-BCBA-4EAF-09BCEAD3472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5">
            <a:extLst>
              <a:ext uri="{FF2B5EF4-FFF2-40B4-BE49-F238E27FC236}">
                <a16:creationId xmlns:a16="http://schemas.microsoft.com/office/drawing/2014/main" id="{B79761B0-265B-3B0D-7F4F-37B0EAB0871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6">
            <a:extLst>
              <a:ext uri="{FF2B5EF4-FFF2-40B4-BE49-F238E27FC236}">
                <a16:creationId xmlns:a16="http://schemas.microsoft.com/office/drawing/2014/main" id="{AD6ACA7C-1162-8DA0-F081-3B63F3139FE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514904-5A3C-464A-AB28-E994D5E30A0C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6253019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horizontaa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F2FA4BEE-C4A6-5B4B-5531-740F54F0CC66}"/>
              </a:ext>
            </a:extLst>
          </p:cNvPr>
          <p:cNvSpPr/>
          <p:nvPr userDrawn="1"/>
        </p:nvSpPr>
        <p:spPr>
          <a:xfrm>
            <a:off x="0" y="3430588"/>
            <a:ext cx="12192000" cy="34274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18CF28C3-0BDC-2CD6-8485-A79089BE5B8A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1" y="1052514"/>
            <a:ext cx="10923588" cy="2374900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1" y="3749488"/>
            <a:ext cx="10923588" cy="2471925"/>
          </a:xfrm>
        </p:spPr>
        <p:txBody>
          <a:bodyPr numCol="2" spcCol="4680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7">
            <a:extLst>
              <a:ext uri="{FF2B5EF4-FFF2-40B4-BE49-F238E27FC236}">
                <a16:creationId xmlns:a16="http://schemas.microsoft.com/office/drawing/2014/main" id="{DEC1DD3D-8269-709C-9636-04EC4CBBEDC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9">
            <a:extLst>
              <a:ext uri="{FF2B5EF4-FFF2-40B4-BE49-F238E27FC236}">
                <a16:creationId xmlns:a16="http://schemas.microsoft.com/office/drawing/2014/main" id="{EEAB54FC-AB49-CC80-E1E6-0ADB44FF534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10">
            <a:extLst>
              <a:ext uri="{FF2B5EF4-FFF2-40B4-BE49-F238E27FC236}">
                <a16:creationId xmlns:a16="http://schemas.microsoft.com/office/drawing/2014/main" id="{47DD7343-84ED-4C41-283F-BAC9EF26DD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08E28-9C16-4D2E-9E10-E6C415E8B3C9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0620415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kle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720000" tIns="1152000">
            <a:noAutofit/>
          </a:bodyPr>
          <a:lstStyle>
            <a:lvl1pPr>
              <a:buClr>
                <a:schemeClr val="bg2"/>
              </a:buClr>
              <a:tabLst>
                <a:tab pos="1619210" algn="l"/>
              </a:tabLs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5" y="3888000"/>
            <a:ext cx="5004595" cy="2333413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6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554588" y="3888000"/>
            <a:ext cx="5004000" cy="2333413"/>
          </a:xfrm>
        </p:spPr>
        <p:txBody>
          <a:bodyPr tIns="50400" numCol="1" spcCol="468000" anchor="t" anchorCtr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3" name="Tijdelijke aanduiding voor datum 9">
            <a:extLst>
              <a:ext uri="{FF2B5EF4-FFF2-40B4-BE49-F238E27FC236}">
                <a16:creationId xmlns:a16="http://schemas.microsoft.com/office/drawing/2014/main" id="{3BD47B50-6728-D267-2E6E-7A745C5996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10">
            <a:extLst>
              <a:ext uri="{FF2B5EF4-FFF2-40B4-BE49-F238E27FC236}">
                <a16:creationId xmlns:a16="http://schemas.microsoft.com/office/drawing/2014/main" id="{998069A9-0FC2-1AAC-FD6D-E026ABF902E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12">
            <a:extLst>
              <a:ext uri="{FF2B5EF4-FFF2-40B4-BE49-F238E27FC236}">
                <a16:creationId xmlns:a16="http://schemas.microsoft.com/office/drawing/2014/main" id="{CDB4BD3E-F575-29DF-EBA6-3583B9F4AAA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7EA59DB-F66F-4DBB-A511-27826146EBAC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032769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</p:spPr>
        <p:txBody>
          <a:bodyPr wrap="square" lIns="720000" tIns="115200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553199" y="3888000"/>
            <a:ext cx="5004000" cy="2333413"/>
          </a:xfrm>
        </p:spPr>
        <p:txBody>
          <a:bodyPr tIns="50400" numCol="1" spcCol="468000" anchor="t" anchorCtr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5" y="3888000"/>
            <a:ext cx="5004595" cy="2333413"/>
          </a:xfrm>
        </p:spPr>
        <p:txBody>
          <a:bodyPr anchor="t"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datum 3">
            <a:extLst>
              <a:ext uri="{FF2B5EF4-FFF2-40B4-BE49-F238E27FC236}">
                <a16:creationId xmlns:a16="http://schemas.microsoft.com/office/drawing/2014/main" id="{30B3F47B-6F2B-1577-F966-C187CBE1242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E8446435-3C0B-FD2D-C19B-2873D9FF2D6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3E8003CF-1D29-467B-EEC9-C673480102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C40DD-59D8-4C3C-AB43-CD040B2E9822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4184139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. kleur zonder tit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720000" tIns="1152000">
            <a:noAutofit/>
          </a:bodyPr>
          <a:lstStyle>
            <a:lvl1pPr>
              <a:tabLst>
                <a:tab pos="1619210" algn="l"/>
              </a:tabLs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1" y="3888000"/>
            <a:ext cx="10923588" cy="2333413"/>
          </a:xfrm>
        </p:spPr>
        <p:txBody>
          <a:bodyPr tIns="50400"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7">
            <a:extLst>
              <a:ext uri="{FF2B5EF4-FFF2-40B4-BE49-F238E27FC236}">
                <a16:creationId xmlns:a16="http://schemas.microsoft.com/office/drawing/2014/main" id="{9A309A54-6713-DCCB-040C-E29AB31BDDC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8">
            <a:extLst>
              <a:ext uri="{FF2B5EF4-FFF2-40B4-BE49-F238E27FC236}">
                <a16:creationId xmlns:a16="http://schemas.microsoft.com/office/drawing/2014/main" id="{126D6222-4427-B1B9-C8EB-AD31F40E7E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9">
            <a:extLst>
              <a:ext uri="{FF2B5EF4-FFF2-40B4-BE49-F238E27FC236}">
                <a16:creationId xmlns:a16="http://schemas.microsoft.com/office/drawing/2014/main" id="{2EDBA4F8-C7F0-8C00-746E-F6B1CCFD96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BB0C5ED-08C1-4D87-9D24-3D2077A705B1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887668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. wit zond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115200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1" y="3888000"/>
            <a:ext cx="10923588" cy="2333413"/>
          </a:xfrm>
        </p:spPr>
        <p:txBody>
          <a:bodyPr tIns="50400"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ED827510-2158-8CA5-0FBF-60A5035DE1B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4">
            <a:extLst>
              <a:ext uri="{FF2B5EF4-FFF2-40B4-BE49-F238E27FC236}">
                <a16:creationId xmlns:a16="http://schemas.microsoft.com/office/drawing/2014/main" id="{80990E01-A576-CD20-F154-4206E43A444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5">
            <a:extLst>
              <a:ext uri="{FF2B5EF4-FFF2-40B4-BE49-F238E27FC236}">
                <a16:creationId xmlns:a16="http://schemas.microsoft.com/office/drawing/2014/main" id="{8100CEA3-A034-C6BB-BD00-7C2AF33B076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CD2E3-B59D-4E21-8151-BA79E8411EF3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1262930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kleur tit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0" y="3427413"/>
            <a:ext cx="12192000" cy="3430587"/>
          </a:xfrm>
          <a:custGeom>
            <a:avLst/>
            <a:gdLst>
              <a:gd name="connsiteX0" fmla="*/ 0 w 12192000"/>
              <a:gd name="connsiteY0" fmla="*/ 0 h 3430587"/>
              <a:gd name="connsiteX1" fmla="*/ 12192000 w 12192000"/>
              <a:gd name="connsiteY1" fmla="*/ 0 h 3430587"/>
              <a:gd name="connsiteX2" fmla="*/ 12192000 w 12192000"/>
              <a:gd name="connsiteY2" fmla="*/ 3430587 h 3430587"/>
              <a:gd name="connsiteX3" fmla="*/ 6330000 w 12192000"/>
              <a:gd name="connsiteY3" fmla="*/ 3430587 h 3430587"/>
              <a:gd name="connsiteX4" fmla="*/ 6330000 w 12192000"/>
              <a:gd name="connsiteY4" fmla="*/ 3192987 h 3430587"/>
              <a:gd name="connsiteX5" fmla="*/ 5862000 w 12192000"/>
              <a:gd name="connsiteY5" fmla="*/ 3192987 h 3430587"/>
              <a:gd name="connsiteX6" fmla="*/ 5862000 w 12192000"/>
              <a:gd name="connsiteY6" fmla="*/ 3430587 h 3430587"/>
              <a:gd name="connsiteX7" fmla="*/ 0 w 12192000"/>
              <a:gd name="connsiteY7" fmla="*/ 3430587 h 3430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30587">
                <a:moveTo>
                  <a:pt x="0" y="0"/>
                </a:moveTo>
                <a:lnTo>
                  <a:pt x="12192000" y="0"/>
                </a:lnTo>
                <a:lnTo>
                  <a:pt x="12192000" y="3430587"/>
                </a:lnTo>
                <a:lnTo>
                  <a:pt x="6330000" y="3430587"/>
                </a:lnTo>
                <a:lnTo>
                  <a:pt x="6330000" y="3192987"/>
                </a:lnTo>
                <a:lnTo>
                  <a:pt x="5862000" y="3192987"/>
                </a:lnTo>
                <a:lnTo>
                  <a:pt x="5862000" y="3430587"/>
                </a:lnTo>
                <a:lnTo>
                  <a:pt x="0" y="3430587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61200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3601" y="1051200"/>
            <a:ext cx="10924383" cy="9468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datum 12">
            <a:extLst>
              <a:ext uri="{FF2B5EF4-FFF2-40B4-BE49-F238E27FC236}">
                <a16:creationId xmlns:a16="http://schemas.microsoft.com/office/drawing/2014/main" id="{DA9B89DC-DED3-1EDF-2A91-B7FA2266BDC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13">
            <a:extLst>
              <a:ext uri="{FF2B5EF4-FFF2-40B4-BE49-F238E27FC236}">
                <a16:creationId xmlns:a16="http://schemas.microsoft.com/office/drawing/2014/main" id="{B3C05BF6-86C4-4812-BA61-A2186F679D2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14">
            <a:extLst>
              <a:ext uri="{FF2B5EF4-FFF2-40B4-BE49-F238E27FC236}">
                <a16:creationId xmlns:a16="http://schemas.microsoft.com/office/drawing/2014/main" id="{3482D750-C184-E913-0B42-F8071D060AF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FA62483-214A-4D27-ABBE-B19F4DC24D7D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801963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w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/>
          <p:cNvSpPr>
            <a:spLocks noGrp="1"/>
          </p:cNvSpPr>
          <p:nvPr>
            <p:ph type="pic" sz="quarter" idx="14"/>
          </p:nvPr>
        </p:nvSpPr>
        <p:spPr>
          <a:xfrm>
            <a:off x="0" y="3427413"/>
            <a:ext cx="12192000" cy="3430587"/>
          </a:xfrm>
          <a:custGeom>
            <a:avLst/>
            <a:gdLst>
              <a:gd name="connsiteX0" fmla="*/ 0 w 12192000"/>
              <a:gd name="connsiteY0" fmla="*/ 0 h 3430587"/>
              <a:gd name="connsiteX1" fmla="*/ 12192000 w 12192000"/>
              <a:gd name="connsiteY1" fmla="*/ 0 h 3430587"/>
              <a:gd name="connsiteX2" fmla="*/ 12192000 w 12192000"/>
              <a:gd name="connsiteY2" fmla="*/ 3430587 h 3430587"/>
              <a:gd name="connsiteX3" fmla="*/ 6330000 w 12192000"/>
              <a:gd name="connsiteY3" fmla="*/ 3430587 h 3430587"/>
              <a:gd name="connsiteX4" fmla="*/ 6330000 w 12192000"/>
              <a:gd name="connsiteY4" fmla="*/ 3192987 h 3430587"/>
              <a:gd name="connsiteX5" fmla="*/ 5862000 w 12192000"/>
              <a:gd name="connsiteY5" fmla="*/ 3192987 h 3430587"/>
              <a:gd name="connsiteX6" fmla="*/ 5862000 w 12192000"/>
              <a:gd name="connsiteY6" fmla="*/ 3430587 h 3430587"/>
              <a:gd name="connsiteX7" fmla="*/ 0 w 12192000"/>
              <a:gd name="connsiteY7" fmla="*/ 3430587 h 3430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30587">
                <a:moveTo>
                  <a:pt x="0" y="0"/>
                </a:moveTo>
                <a:lnTo>
                  <a:pt x="12192000" y="0"/>
                </a:lnTo>
                <a:lnTo>
                  <a:pt x="12192000" y="3430587"/>
                </a:lnTo>
                <a:lnTo>
                  <a:pt x="6330000" y="3430587"/>
                </a:lnTo>
                <a:lnTo>
                  <a:pt x="6330000" y="3192987"/>
                </a:lnTo>
                <a:lnTo>
                  <a:pt x="5862000" y="3192987"/>
                </a:lnTo>
                <a:lnTo>
                  <a:pt x="5862000" y="3430587"/>
                </a:lnTo>
                <a:lnTo>
                  <a:pt x="0" y="3430587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</p:spPr>
        <p:txBody>
          <a:bodyPr wrap="square" lIns="61200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634206" y="1051200"/>
            <a:ext cx="10924383" cy="946800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2" name="Tijdelijke aanduiding voor datum 4">
            <a:extLst>
              <a:ext uri="{FF2B5EF4-FFF2-40B4-BE49-F238E27FC236}">
                <a16:creationId xmlns:a16="http://schemas.microsoft.com/office/drawing/2014/main" id="{9C86881D-65A2-F44D-F389-D3DA5524BE5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5">
            <a:extLst>
              <a:ext uri="{FF2B5EF4-FFF2-40B4-BE49-F238E27FC236}">
                <a16:creationId xmlns:a16="http://schemas.microsoft.com/office/drawing/2014/main" id="{E48220B0-D9A9-BDC6-0EDB-E03A81814B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6">
            <a:extLst>
              <a:ext uri="{FF2B5EF4-FFF2-40B4-BE49-F238E27FC236}">
                <a16:creationId xmlns:a16="http://schemas.microsoft.com/office/drawing/2014/main" id="{B4B896F3-5216-9075-CF52-347D59C14A6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B006D0-9233-42EE-ACCC-0824B9D96BA9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14097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91951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met tite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8">
            <a:extLst>
              <a:ext uri="{FF2B5EF4-FFF2-40B4-BE49-F238E27FC236}">
                <a16:creationId xmlns:a16="http://schemas.microsoft.com/office/drawing/2014/main" id="{188BB67B-D2A6-CFFE-4EB8-63E97F5FB0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0" y="5153776"/>
            <a:ext cx="12192000" cy="576000"/>
          </a:xfrm>
          <a:solidFill>
            <a:schemeClr val="tx2"/>
          </a:solidFill>
        </p:spPr>
        <p:txBody>
          <a:bodyPr lIns="756000" anchor="ctr">
            <a:no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0" y="5825413"/>
            <a:ext cx="12192000" cy="396000"/>
          </a:xfrm>
          <a:solidFill>
            <a:schemeClr val="bg1"/>
          </a:solidFill>
        </p:spPr>
        <p:txBody>
          <a:bodyPr lIns="756000" anchor="ctr" anchorCtr="0"/>
          <a:lstStyle>
            <a:lvl1pPr marL="0" indent="0">
              <a:buNone/>
              <a:defRPr sz="2000" i="0">
                <a:solidFill>
                  <a:schemeClr val="tx1"/>
                </a:solidFill>
              </a:defRPr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8635202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3"/>
          </p:nvPr>
        </p:nvSpPr>
        <p:spPr>
          <a:xfrm>
            <a:off x="635001" y="2276475"/>
            <a:ext cx="10923588" cy="394493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A00E34F1-00D7-74DC-1A55-8A700EB7173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14DDB552-F1C5-1532-0BB7-CED4AE2633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5EDAD4D9-AB08-0251-5D6E-A2DC59836D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918700-0252-458C-86D7-5221FA74622F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6585225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6253047-8DE7-3D3C-5A93-817921375B7C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3" name="Afbeelding 9">
            <a:extLst>
              <a:ext uri="{FF2B5EF4-FFF2-40B4-BE49-F238E27FC236}">
                <a16:creationId xmlns:a16="http://schemas.microsoft.com/office/drawing/2014/main" id="{BE82D71F-BB73-3EA9-915A-C2718F703D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7962D05F-FB31-556A-27E0-4EFD092F22DA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4999" y="2636838"/>
            <a:ext cx="5003801" cy="1584325"/>
          </a:xfrm>
        </p:spPr>
        <p:txBody>
          <a:bodyPr anchor="ctr"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5"/>
          </p:nvPr>
        </p:nvSpPr>
        <p:spPr>
          <a:xfrm>
            <a:off x="7791732" y="916926"/>
            <a:ext cx="3766856" cy="817562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ijdelijke aanduiding voor tekst 4"/>
          <p:cNvSpPr>
            <a:spLocks noGrp="1"/>
          </p:cNvSpPr>
          <p:nvPr>
            <p:ph type="body" sz="quarter" idx="16"/>
          </p:nvPr>
        </p:nvSpPr>
        <p:spPr>
          <a:xfrm>
            <a:off x="7791732" y="2061911"/>
            <a:ext cx="3766856" cy="817562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Tijdelijke aanduiding voor tekst 4"/>
          <p:cNvSpPr>
            <a:spLocks noGrp="1"/>
          </p:cNvSpPr>
          <p:nvPr>
            <p:ph type="body" sz="quarter" idx="17"/>
          </p:nvPr>
        </p:nvSpPr>
        <p:spPr>
          <a:xfrm>
            <a:off x="7791732" y="3211200"/>
            <a:ext cx="3766856" cy="817562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Tijdelijke aanduiding voor tekst 4"/>
          <p:cNvSpPr>
            <a:spLocks noGrp="1"/>
          </p:cNvSpPr>
          <p:nvPr>
            <p:ph type="body" sz="quarter" idx="18"/>
          </p:nvPr>
        </p:nvSpPr>
        <p:spPr>
          <a:xfrm>
            <a:off x="7791732" y="4352400"/>
            <a:ext cx="3766856" cy="817562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7" name="Tijdelijke aanduiding voor tekst 4"/>
          <p:cNvSpPr>
            <a:spLocks noGrp="1"/>
          </p:cNvSpPr>
          <p:nvPr>
            <p:ph type="body" sz="quarter" idx="19"/>
          </p:nvPr>
        </p:nvSpPr>
        <p:spPr>
          <a:xfrm>
            <a:off x="7791732" y="5497200"/>
            <a:ext cx="3766856" cy="817562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200" indent="0">
              <a:buNone/>
              <a:defRPr/>
            </a:lvl2pPr>
            <a:lvl3pPr marL="630000" indent="0">
              <a:buNone/>
              <a:defRPr/>
            </a:lvl3pPr>
            <a:lvl4pPr marL="943200" indent="0">
              <a:buNone/>
              <a:defRPr/>
            </a:lvl4pPr>
            <a:lvl5pPr marL="1260000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6418727" y="998445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3" name="Tijdelijke aanduiding voor tekst 2"/>
          <p:cNvSpPr>
            <a:spLocks noGrp="1"/>
          </p:cNvSpPr>
          <p:nvPr>
            <p:ph type="body" sz="quarter" idx="11"/>
          </p:nvPr>
        </p:nvSpPr>
        <p:spPr>
          <a:xfrm>
            <a:off x="6418727" y="2143674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4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6418727" y="3288903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5" name="Tijdelijke aanduiding voor tekst 2"/>
          <p:cNvSpPr>
            <a:spLocks noGrp="1"/>
          </p:cNvSpPr>
          <p:nvPr>
            <p:ph type="body" sz="quarter" idx="13"/>
          </p:nvPr>
        </p:nvSpPr>
        <p:spPr>
          <a:xfrm>
            <a:off x="6418727" y="4434132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6" name="Tijdelijke aanduiding voor tekst 2"/>
          <p:cNvSpPr>
            <a:spLocks noGrp="1"/>
          </p:cNvSpPr>
          <p:nvPr>
            <p:ph type="body" sz="quarter" idx="14"/>
          </p:nvPr>
        </p:nvSpPr>
        <p:spPr>
          <a:xfrm>
            <a:off x="6418727" y="5579361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FD0B79A1-0C0E-ED54-697F-41BFE9C4AC2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8">
            <a:extLst>
              <a:ext uri="{FF2B5EF4-FFF2-40B4-BE49-F238E27FC236}">
                <a16:creationId xmlns:a16="http://schemas.microsoft.com/office/drawing/2014/main" id="{2C544FCC-DEBA-C32B-714A-AB75904F292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17">
            <a:extLst>
              <a:ext uri="{FF2B5EF4-FFF2-40B4-BE49-F238E27FC236}">
                <a16:creationId xmlns:a16="http://schemas.microsoft.com/office/drawing/2014/main" id="{0BE57FF2-C024-FBF2-1CEE-7A70AA30054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EE3931-78A7-4F37-ADA3-94578601C8B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7290622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4"/>
          </p:nvPr>
        </p:nvSpPr>
        <p:spPr>
          <a:xfrm>
            <a:off x="7958859" y="2276475"/>
            <a:ext cx="3600000" cy="3937000"/>
          </a:xfrm>
        </p:spPr>
        <p:txBody>
          <a:bodyPr/>
          <a:lstStyle>
            <a:lvl1pPr marL="0" indent="0">
              <a:buNone/>
              <a:defRPr sz="2000"/>
            </a:lvl1pPr>
            <a:lvl2pPr marL="313192" indent="0">
              <a:buNone/>
              <a:defRPr sz="1800"/>
            </a:lvl2pPr>
            <a:lvl3pPr marL="629984" indent="0">
              <a:buNone/>
              <a:defRPr sz="1600"/>
            </a:lvl3pPr>
            <a:lvl4pPr marL="943176" indent="0">
              <a:buNone/>
              <a:defRPr sz="1600"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9" name="Tijdelijke aanduiding voor inhoud 8"/>
          <p:cNvSpPr>
            <a:spLocks noGrp="1"/>
          </p:cNvSpPr>
          <p:nvPr>
            <p:ph sz="quarter" idx="15"/>
          </p:nvPr>
        </p:nvSpPr>
        <p:spPr>
          <a:xfrm>
            <a:off x="635001" y="2276475"/>
            <a:ext cx="7178964" cy="394493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E8C65A00-C552-BEB2-FA4D-56DA2D47EF8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689B97BF-1D2E-9E27-B2DE-DF1F30DACD7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6179C118-C79F-0C42-E6BC-95627477C38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AC3418-A4CC-45A6-AE52-834F0113EDC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95139305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/grafiek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79C7FB63-FFCA-7447-ADED-4821ED306C0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3EA19D43-BE0E-7718-D1EA-C31D4D8257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3FFC919F-2C54-B132-C19A-C210D41D9B37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4"/>
          </p:nvPr>
        </p:nvSpPr>
        <p:spPr>
          <a:xfrm>
            <a:off x="6550024" y="2289599"/>
            <a:ext cx="5004000" cy="3931813"/>
          </a:xfrm>
        </p:spPr>
        <p:txBody>
          <a:bodyPr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50024" y="1051202"/>
            <a:ext cx="5004000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9" name="Tijdelijke aanduiding voor inhoud 8"/>
          <p:cNvSpPr>
            <a:spLocks noGrp="1"/>
          </p:cNvSpPr>
          <p:nvPr>
            <p:ph sz="quarter" idx="19"/>
          </p:nvPr>
        </p:nvSpPr>
        <p:spPr>
          <a:xfrm>
            <a:off x="635000" y="1066800"/>
            <a:ext cx="5003800" cy="51546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datum 13">
            <a:extLst>
              <a:ext uri="{FF2B5EF4-FFF2-40B4-BE49-F238E27FC236}">
                <a16:creationId xmlns:a16="http://schemas.microsoft.com/office/drawing/2014/main" id="{E654A6A0-AD8E-1729-51BA-DBC7180AB8B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4">
            <a:extLst>
              <a:ext uri="{FF2B5EF4-FFF2-40B4-BE49-F238E27FC236}">
                <a16:creationId xmlns:a16="http://schemas.microsoft.com/office/drawing/2014/main" id="{F25D549C-30BC-22E0-E260-345682627B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5">
            <a:extLst>
              <a:ext uri="{FF2B5EF4-FFF2-40B4-BE49-F238E27FC236}">
                <a16:creationId xmlns:a16="http://schemas.microsoft.com/office/drawing/2014/main" id="{D7E0D980-86A5-39EE-80F1-1F9B2AECDB7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64F5CA-28F8-4909-B2D8-B85B9A2B2E42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42895596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EEA6A0B8-7C2E-8303-1FDE-0D5C50CB70BE}"/>
              </a:ext>
            </a:extLst>
          </p:cNvPr>
          <p:cNvSpPr/>
          <p:nvPr userDrawn="1"/>
        </p:nvSpPr>
        <p:spPr>
          <a:xfrm>
            <a:off x="0" y="0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B96DD58A-2577-279D-3AE6-DED278FE3178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15">
            <a:extLst>
              <a:ext uri="{FF2B5EF4-FFF2-40B4-BE49-F238E27FC236}">
                <a16:creationId xmlns:a16="http://schemas.microsoft.com/office/drawing/2014/main" id="{D5EA708A-8CBC-6BF6-B057-556EB056CA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1" y="1875618"/>
            <a:ext cx="10923588" cy="1551796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5156753" y="3846023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/>
          </p:nvPr>
        </p:nvSpPr>
        <p:spPr>
          <a:xfrm>
            <a:off x="5156753" y="4639510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/>
          </p:nvPr>
        </p:nvSpPr>
        <p:spPr>
          <a:xfrm>
            <a:off x="5156753" y="5405529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4544781" y="3921367"/>
            <a:ext cx="541203" cy="54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4544781" y="4707383"/>
            <a:ext cx="541203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4544781" y="5480872"/>
            <a:ext cx="541203" cy="540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6">
            <a:extLst>
              <a:ext uri="{FF2B5EF4-FFF2-40B4-BE49-F238E27FC236}">
                <a16:creationId xmlns:a16="http://schemas.microsoft.com/office/drawing/2014/main" id="{7FEAAA30-F040-8F5F-8DFD-95EC5DF6E19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7">
            <a:extLst>
              <a:ext uri="{FF2B5EF4-FFF2-40B4-BE49-F238E27FC236}">
                <a16:creationId xmlns:a16="http://schemas.microsoft.com/office/drawing/2014/main" id="{62979320-0926-1A69-1116-BCE90AB12F6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8">
            <a:extLst>
              <a:ext uri="{FF2B5EF4-FFF2-40B4-BE49-F238E27FC236}">
                <a16:creationId xmlns:a16="http://schemas.microsoft.com/office/drawing/2014/main" id="{8C324FA6-8084-1F52-F122-6D24FDF3748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B00EB2-3D11-4700-8484-8087060D492E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2812641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0B9540D9-B3CD-F7C1-DA85-010FA6A4C12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2712A20E-7F0F-AEB3-C458-CA3C3CB351A6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15">
            <a:extLst>
              <a:ext uri="{FF2B5EF4-FFF2-40B4-BE49-F238E27FC236}">
                <a16:creationId xmlns:a16="http://schemas.microsoft.com/office/drawing/2014/main" id="{F2070947-8429-C26A-BB9D-39004B1BA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2565400"/>
            <a:ext cx="5003800" cy="1727200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7176286" y="2286001"/>
            <a:ext cx="4382303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/>
          </p:nvPr>
        </p:nvSpPr>
        <p:spPr>
          <a:xfrm>
            <a:off x="7176286" y="3079487"/>
            <a:ext cx="4382303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/>
          </p:nvPr>
        </p:nvSpPr>
        <p:spPr>
          <a:xfrm>
            <a:off x="7176286" y="3845507"/>
            <a:ext cx="4382303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6564313" y="2361344"/>
            <a:ext cx="541203" cy="54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6564313" y="3147360"/>
            <a:ext cx="541203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6564313" y="3920851"/>
            <a:ext cx="541203" cy="540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6">
            <a:extLst>
              <a:ext uri="{FF2B5EF4-FFF2-40B4-BE49-F238E27FC236}">
                <a16:creationId xmlns:a16="http://schemas.microsoft.com/office/drawing/2014/main" id="{36893AFE-761D-0B14-5D29-D72EAB2F757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7">
            <a:extLst>
              <a:ext uri="{FF2B5EF4-FFF2-40B4-BE49-F238E27FC236}">
                <a16:creationId xmlns:a16="http://schemas.microsoft.com/office/drawing/2014/main" id="{335DB589-EAB4-BB78-6400-BE214F9D9E2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8">
            <a:extLst>
              <a:ext uri="{FF2B5EF4-FFF2-40B4-BE49-F238E27FC236}">
                <a16:creationId xmlns:a16="http://schemas.microsoft.com/office/drawing/2014/main" id="{2F75AB8C-DF07-6D87-9430-5687A6C4CF8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1BE8B0-B0B8-4847-9B87-7D7358655CC6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1195304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B105F7D5-EF89-538B-E7FB-F6D99618B785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4" name="Afbeelding 11">
            <a:extLst>
              <a:ext uri="{FF2B5EF4-FFF2-40B4-BE49-F238E27FC236}">
                <a16:creationId xmlns:a16="http://schemas.microsoft.com/office/drawing/2014/main" id="{BB0390CA-A9DA-32D4-2D7D-784656EEBA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1" y="1875617"/>
            <a:ext cx="10923588" cy="1551795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8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4224313" y="3846023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9" name="Tijdelijke aanduiding voor tekst 13"/>
          <p:cNvSpPr>
            <a:spLocks noGrp="1"/>
          </p:cNvSpPr>
          <p:nvPr>
            <p:ph type="body" sz="quarter" idx="17"/>
          </p:nvPr>
        </p:nvSpPr>
        <p:spPr>
          <a:xfrm>
            <a:off x="4224313" y="4639510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18"/>
          </p:nvPr>
        </p:nvSpPr>
        <p:spPr>
          <a:xfrm>
            <a:off x="4224313" y="5405529"/>
            <a:ext cx="4680000" cy="691884"/>
          </a:xfrm>
        </p:spPr>
        <p:txBody>
          <a:bodyPr numCol="1" spcCol="180000" anchor="ctr" anchorCtr="0"/>
          <a:lstStyle>
            <a:lvl1pPr marL="0" indent="0">
              <a:buNone/>
              <a:defRPr sz="20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jdelijke aanduiding voor afbeelding 3"/>
          <p:cNvSpPr>
            <a:spLocks noGrp="1" noChangeAspect="1"/>
          </p:cNvSpPr>
          <p:nvPr>
            <p:ph type="pic" sz="quarter" idx="19"/>
          </p:nvPr>
        </p:nvSpPr>
        <p:spPr>
          <a:xfrm>
            <a:off x="3612341" y="3921367"/>
            <a:ext cx="541203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2" name="Tijdelijke aanduiding voor afbeelding 3"/>
          <p:cNvSpPr>
            <a:spLocks noGrp="1" noChangeAspect="1"/>
          </p:cNvSpPr>
          <p:nvPr>
            <p:ph type="pic" sz="quarter" idx="20"/>
          </p:nvPr>
        </p:nvSpPr>
        <p:spPr>
          <a:xfrm>
            <a:off x="3612341" y="4707383"/>
            <a:ext cx="541203" cy="540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3" name="Tijdelijke aanduiding voor afbeelding 3"/>
          <p:cNvSpPr>
            <a:spLocks noGrp="1" noChangeAspect="1"/>
          </p:cNvSpPr>
          <p:nvPr>
            <p:ph type="pic" sz="quarter" idx="21"/>
          </p:nvPr>
        </p:nvSpPr>
        <p:spPr>
          <a:xfrm>
            <a:off x="3612341" y="5480872"/>
            <a:ext cx="541203" cy="5400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5" name="Tijdelijke aanduiding voor datum 5">
            <a:extLst>
              <a:ext uri="{FF2B5EF4-FFF2-40B4-BE49-F238E27FC236}">
                <a16:creationId xmlns:a16="http://schemas.microsoft.com/office/drawing/2014/main" id="{CA74CA69-1DE4-86FA-811A-92AAB70ACFE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6">
            <a:extLst>
              <a:ext uri="{FF2B5EF4-FFF2-40B4-BE49-F238E27FC236}">
                <a16:creationId xmlns:a16="http://schemas.microsoft.com/office/drawing/2014/main" id="{2B84A46B-57BE-298A-66B2-13FFDB746FB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7">
            <a:extLst>
              <a:ext uri="{FF2B5EF4-FFF2-40B4-BE49-F238E27FC236}">
                <a16:creationId xmlns:a16="http://schemas.microsoft.com/office/drawing/2014/main" id="{A635251E-BC0E-02C8-C8D3-B8261289F33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5A0F796-5C60-4A12-9CD7-51A3E0A0E466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3720746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1A60EACC-383D-6116-EF15-4B54CFA89936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9">
            <a:extLst>
              <a:ext uri="{FF2B5EF4-FFF2-40B4-BE49-F238E27FC236}">
                <a16:creationId xmlns:a16="http://schemas.microsoft.com/office/drawing/2014/main" id="{1C10FBC9-5B84-E1C2-38B4-11C27FB7C29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554588" y="1882800"/>
            <a:ext cx="5004000" cy="2336400"/>
          </a:xfrm>
        </p:spPr>
        <p:txBody>
          <a:bodyPr tIns="90000" bIns="9000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554588" y="4215600"/>
            <a:ext cx="5004000" cy="133920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910419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6618FAA-D4D9-5B16-FDCF-B5CB329D80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7245986-0835-5FED-0122-F0E80DDA06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FB9F7A2-5795-D113-B9EC-A8EA504EE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FDA905-3731-4E34-9C31-821D71DC7F57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4354321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afbeelding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408A603-4307-6973-8FA0-4CCFFFE9F1C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E523FCD3-5C33-3F1E-6665-17C9B528CEEC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72F611A6-52C2-552A-A76B-F5E34342AF69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16">
            <a:extLst>
              <a:ext uri="{FF2B5EF4-FFF2-40B4-BE49-F238E27FC236}">
                <a16:creationId xmlns:a16="http://schemas.microsoft.com/office/drawing/2014/main" id="{1A5DC48D-2F4E-D666-E29A-4D1E750FA3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ijdelijke aanduiding voor afbeelding 31"/>
          <p:cNvSpPr>
            <a:spLocks noGrp="1"/>
          </p:cNvSpPr>
          <p:nvPr>
            <p:ph type="pic" sz="quarter" idx="22"/>
          </p:nvPr>
        </p:nvSpPr>
        <p:spPr>
          <a:xfrm>
            <a:off x="-3174" y="0"/>
            <a:ext cx="6099175" cy="6858000"/>
          </a:xfrm>
          <a:custGeom>
            <a:avLst/>
            <a:gdLst>
              <a:gd name="connsiteX0" fmla="*/ 0 w 6099175"/>
              <a:gd name="connsiteY0" fmla="*/ 0 h 6858000"/>
              <a:gd name="connsiteX1" fmla="*/ 5776763 w 6099175"/>
              <a:gd name="connsiteY1" fmla="*/ 0 h 6858000"/>
              <a:gd name="connsiteX2" fmla="*/ 5776763 w 6099175"/>
              <a:gd name="connsiteY2" fmla="*/ 1144800 h 6858000"/>
              <a:gd name="connsiteX3" fmla="*/ 6099175 w 6099175"/>
              <a:gd name="connsiteY3" fmla="*/ 1144800 h 6858000"/>
              <a:gd name="connsiteX4" fmla="*/ 6099175 w 6099175"/>
              <a:gd name="connsiteY4" fmla="*/ 6541200 h 6858000"/>
              <a:gd name="connsiteX5" fmla="*/ 5776595 w 6099175"/>
              <a:gd name="connsiteY5" fmla="*/ 6541200 h 6858000"/>
              <a:gd name="connsiteX6" fmla="*/ 5776595 w 6099175"/>
              <a:gd name="connsiteY6" fmla="*/ 6858000 h 6858000"/>
              <a:gd name="connsiteX7" fmla="*/ 0 w 609917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9175" h="6858000">
                <a:moveTo>
                  <a:pt x="0" y="0"/>
                </a:moveTo>
                <a:lnTo>
                  <a:pt x="5776763" y="0"/>
                </a:lnTo>
                <a:lnTo>
                  <a:pt x="5776763" y="1144800"/>
                </a:lnTo>
                <a:lnTo>
                  <a:pt x="6099175" y="1144800"/>
                </a:lnTo>
                <a:lnTo>
                  <a:pt x="6099175" y="6541200"/>
                </a:lnTo>
                <a:lnTo>
                  <a:pt x="5776595" y="6541200"/>
                </a:lnTo>
                <a:lnTo>
                  <a:pt x="577659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612000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4" name="Tijdelijke aanduiding voor tekst 16"/>
          <p:cNvSpPr>
            <a:spLocks noGrp="1"/>
          </p:cNvSpPr>
          <p:nvPr>
            <p:ph type="body" sz="quarter" idx="2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7" name="Titel 1"/>
          <p:cNvSpPr>
            <a:spLocks noGrp="1"/>
          </p:cNvSpPr>
          <p:nvPr>
            <p:ph type="ctrTitle"/>
          </p:nvPr>
        </p:nvSpPr>
        <p:spPr>
          <a:xfrm>
            <a:off x="6553200" y="1885467"/>
            <a:ext cx="5004000" cy="2336400"/>
          </a:xfrm>
        </p:spPr>
        <p:txBody>
          <a:bodyPr tIns="90000" bIns="9000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8" name="Ondertitel 2"/>
          <p:cNvSpPr>
            <a:spLocks noGrp="1"/>
          </p:cNvSpPr>
          <p:nvPr>
            <p:ph type="subTitle" idx="1"/>
          </p:nvPr>
        </p:nvSpPr>
        <p:spPr>
          <a:xfrm>
            <a:off x="6553200" y="4218267"/>
            <a:ext cx="5004000" cy="1613787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6" name="Tijdelijke aanduiding voor datum 10">
            <a:extLst>
              <a:ext uri="{FF2B5EF4-FFF2-40B4-BE49-F238E27FC236}">
                <a16:creationId xmlns:a16="http://schemas.microsoft.com/office/drawing/2014/main" id="{A9D7F4A4-E2F5-7FD7-57F1-B817CB2F342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1">
            <a:extLst>
              <a:ext uri="{FF2B5EF4-FFF2-40B4-BE49-F238E27FC236}">
                <a16:creationId xmlns:a16="http://schemas.microsoft.com/office/drawing/2014/main" id="{56C654A4-EBF5-360E-1BA6-9D1E84587D7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4">
            <a:extLst>
              <a:ext uri="{FF2B5EF4-FFF2-40B4-BE49-F238E27FC236}">
                <a16:creationId xmlns:a16="http://schemas.microsoft.com/office/drawing/2014/main" id="{16EBBB76-3FBE-82C3-8ADC-7F819604D6D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45F11D-C048-4DB6-8507-3753802C5A66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7887364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afbeelding horizonta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91839523-DB90-6327-D596-159C2E2905D7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9">
            <a:extLst>
              <a:ext uri="{FF2B5EF4-FFF2-40B4-BE49-F238E27FC236}">
                <a16:creationId xmlns:a16="http://schemas.microsoft.com/office/drawing/2014/main" id="{E905A298-79C5-2CC0-F37B-5C1C07275D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34681" y="3427414"/>
            <a:ext cx="10923907" cy="1726479"/>
          </a:xfrm>
        </p:spPr>
        <p:txBody>
          <a:bodyPr lIns="57600" tIns="90000" bIns="90000">
            <a:norm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34681" y="5162402"/>
            <a:ext cx="10923907" cy="664319"/>
          </a:xfrm>
        </p:spPr>
        <p:txBody>
          <a:bodyPr lIns="72000" tIns="90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17" name="Tijdelijke aanduiding voor tekst 16"/>
          <p:cNvSpPr>
            <a:spLocks noGrp="1"/>
          </p:cNvSpPr>
          <p:nvPr>
            <p:ph type="body" sz="quarter" idx="10"/>
          </p:nvPr>
        </p:nvSpPr>
        <p:spPr>
          <a:xfrm>
            <a:off x="633412" y="5829387"/>
            <a:ext cx="5138739" cy="389360"/>
          </a:xfrm>
        </p:spPr>
        <p:txBody>
          <a:bodyPr lIns="86400" anchor="b" anchorCtr="0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6" name="Tijdelijke aanduiding voor afbeelding 15"/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12192000" cy="3427413"/>
          </a:xfrm>
          <a:custGeom>
            <a:avLst/>
            <a:gdLst>
              <a:gd name="connsiteX0" fmla="*/ 5772000 w 12192000"/>
              <a:gd name="connsiteY0" fmla="*/ 1 h 3427413"/>
              <a:gd name="connsiteX1" fmla="*/ 5772000 w 12192000"/>
              <a:gd name="connsiteY1" fmla="*/ 1144801 h 3427413"/>
              <a:gd name="connsiteX2" fmla="*/ 6420000 w 12192000"/>
              <a:gd name="connsiteY2" fmla="*/ 1144801 h 3427413"/>
              <a:gd name="connsiteX3" fmla="*/ 6420000 w 12192000"/>
              <a:gd name="connsiteY3" fmla="*/ 1 h 3427413"/>
              <a:gd name="connsiteX4" fmla="*/ 0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5772000" y="1"/>
                </a:moveTo>
                <a:lnTo>
                  <a:pt x="5772000" y="1144801"/>
                </a:lnTo>
                <a:lnTo>
                  <a:pt x="6420000" y="1144801"/>
                </a:lnTo>
                <a:lnTo>
                  <a:pt x="6420000" y="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648000" anchor="ctr" anchorCtr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6">
            <a:extLst>
              <a:ext uri="{FF2B5EF4-FFF2-40B4-BE49-F238E27FC236}">
                <a16:creationId xmlns:a16="http://schemas.microsoft.com/office/drawing/2014/main" id="{0D2C462B-125C-6ED6-1C3A-B235DE6FDBF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8">
            <a:extLst>
              <a:ext uri="{FF2B5EF4-FFF2-40B4-BE49-F238E27FC236}">
                <a16:creationId xmlns:a16="http://schemas.microsoft.com/office/drawing/2014/main" id="{9489ED00-0DEF-6E85-1169-1E5999C0043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9">
            <a:extLst>
              <a:ext uri="{FF2B5EF4-FFF2-40B4-BE49-F238E27FC236}">
                <a16:creationId xmlns:a16="http://schemas.microsoft.com/office/drawing/2014/main" id="{070FFCC2-FB85-733F-B749-ED11FE7F92F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5C37E89-2E28-488B-9196-9B61974565F1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363853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9FCACB23-BAD1-6209-279D-0F2C983C6E58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A6CA887F-FCF5-A12F-122A-030F798BD009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39A377A1-69DB-8AEB-A538-F22523C4953F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16">
            <a:extLst>
              <a:ext uri="{FF2B5EF4-FFF2-40B4-BE49-F238E27FC236}">
                <a16:creationId xmlns:a16="http://schemas.microsoft.com/office/drawing/2014/main" id="{B476AE69-F43D-EB38-DA51-B42F2BF6AA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Ondertitel 2"/>
          <p:cNvSpPr>
            <a:spLocks noGrp="1"/>
          </p:cNvSpPr>
          <p:nvPr>
            <p:ph type="subTitle" idx="1"/>
          </p:nvPr>
        </p:nvSpPr>
        <p:spPr>
          <a:xfrm>
            <a:off x="6556176" y="3427413"/>
            <a:ext cx="5004000" cy="2404640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25" name="Tijdelijke aanduiding voor tekst 16"/>
          <p:cNvSpPr>
            <a:spLocks noGrp="1"/>
          </p:cNvSpPr>
          <p:nvPr>
            <p:ph type="body" sz="quarter" idx="21"/>
          </p:nvPr>
        </p:nvSpPr>
        <p:spPr>
          <a:xfrm>
            <a:off x="6553200" y="5832053"/>
            <a:ext cx="5004000" cy="389360"/>
          </a:xfrm>
        </p:spPr>
        <p:txBody>
          <a:bodyPr lIns="118800" anchor="b" anchorCtr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1" name="Titel 1"/>
          <p:cNvSpPr>
            <a:spLocks noGrp="1"/>
          </p:cNvSpPr>
          <p:nvPr>
            <p:ph type="ctrTitle"/>
          </p:nvPr>
        </p:nvSpPr>
        <p:spPr>
          <a:xfrm>
            <a:off x="6554588" y="2024063"/>
            <a:ext cx="5004000" cy="1403351"/>
          </a:xfrm>
        </p:spPr>
        <p:txBody>
          <a:bodyPr tIns="90000" bIns="9000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6" name="Tijdelijke aanduiding voor datum 17">
            <a:extLst>
              <a:ext uri="{FF2B5EF4-FFF2-40B4-BE49-F238E27FC236}">
                <a16:creationId xmlns:a16="http://schemas.microsoft.com/office/drawing/2014/main" id="{04AF1D07-6D6D-6217-5399-D8E15F97713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8">
            <a:extLst>
              <a:ext uri="{FF2B5EF4-FFF2-40B4-BE49-F238E27FC236}">
                <a16:creationId xmlns:a16="http://schemas.microsoft.com/office/drawing/2014/main" id="{8E7C8580-CD05-CB9E-E0D8-ABDC92696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9">
            <a:extLst>
              <a:ext uri="{FF2B5EF4-FFF2-40B4-BE49-F238E27FC236}">
                <a16:creationId xmlns:a16="http://schemas.microsoft.com/office/drawing/2014/main" id="{4E20AD46-4945-8928-655F-BFCB5628261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122C20-6822-4EE1-823E-09C984233B62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299296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216630B-EAFA-B059-8F00-758A61908F2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3" name="Afbeelding 9">
            <a:extLst>
              <a:ext uri="{FF2B5EF4-FFF2-40B4-BE49-F238E27FC236}">
                <a16:creationId xmlns:a16="http://schemas.microsoft.com/office/drawing/2014/main" id="{481F12E0-7B48-B8FB-7B47-D1143267BB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8F0B72A8-857F-59C7-9F79-703C48CBEF43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11" name="Tijdelijke aanduiding voor tekst 11"/>
          <p:cNvSpPr>
            <a:spLocks noGrp="1"/>
          </p:cNvSpPr>
          <p:nvPr>
            <p:ph type="body" sz="quarter" idx="13"/>
          </p:nvPr>
        </p:nvSpPr>
        <p:spPr>
          <a:xfrm>
            <a:off x="6553200" y="2289600"/>
            <a:ext cx="5004000" cy="3931813"/>
          </a:xfrm>
        </p:spPr>
        <p:txBody>
          <a:bodyPr/>
          <a:lstStyle>
            <a:lvl1pPr marL="457200" indent="-457200">
              <a:buClr>
                <a:schemeClr val="bg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4000" indent="-21600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553200" y="1051200"/>
            <a:ext cx="5004000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4" name="Tijdelijke aanduiding voor afbeelding 2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8242" cy="6858000"/>
          </a:xfrm>
          <a:custGeom>
            <a:avLst/>
            <a:gdLst>
              <a:gd name="connsiteX0" fmla="*/ 0 w 6098242"/>
              <a:gd name="connsiteY0" fmla="*/ 0 h 6858000"/>
              <a:gd name="connsiteX1" fmla="*/ 5862000 w 6098242"/>
              <a:gd name="connsiteY1" fmla="*/ 0 h 6858000"/>
              <a:gd name="connsiteX2" fmla="*/ 5862000 w 6098242"/>
              <a:gd name="connsiteY2" fmla="*/ 708025 h 6858000"/>
              <a:gd name="connsiteX3" fmla="*/ 6098242 w 6098242"/>
              <a:gd name="connsiteY3" fmla="*/ 708025 h 6858000"/>
              <a:gd name="connsiteX4" fmla="*/ 6098242 w 6098242"/>
              <a:gd name="connsiteY4" fmla="*/ 6620400 h 6858000"/>
              <a:gd name="connsiteX5" fmla="*/ 5862000 w 6098242"/>
              <a:gd name="connsiteY5" fmla="*/ 6620400 h 6858000"/>
              <a:gd name="connsiteX6" fmla="*/ 5862000 w 6098242"/>
              <a:gd name="connsiteY6" fmla="*/ 6858000 h 6858000"/>
              <a:gd name="connsiteX7" fmla="*/ 0 w 609824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8242" h="6858000">
                <a:moveTo>
                  <a:pt x="0" y="0"/>
                </a:moveTo>
                <a:lnTo>
                  <a:pt x="5862000" y="0"/>
                </a:lnTo>
                <a:lnTo>
                  <a:pt x="5862000" y="708025"/>
                </a:lnTo>
                <a:lnTo>
                  <a:pt x="6098242" y="708025"/>
                </a:lnTo>
                <a:lnTo>
                  <a:pt x="6098242" y="6620400"/>
                </a:lnTo>
                <a:lnTo>
                  <a:pt x="5862000" y="6620400"/>
                </a:lnTo>
                <a:lnTo>
                  <a:pt x="586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</p:spPr>
        <p:txBody>
          <a:bodyPr wrap="square" lIns="612000" anchor="ctr" anchorCtr="0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5" name="Tijdelijke aanduiding voor datum 16">
            <a:extLst>
              <a:ext uri="{FF2B5EF4-FFF2-40B4-BE49-F238E27FC236}">
                <a16:creationId xmlns:a16="http://schemas.microsoft.com/office/drawing/2014/main" id="{F453813F-77EE-F8D7-63A0-8B9B5C036B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7">
            <a:extLst>
              <a:ext uri="{FF2B5EF4-FFF2-40B4-BE49-F238E27FC236}">
                <a16:creationId xmlns:a16="http://schemas.microsoft.com/office/drawing/2014/main" id="{44A7B8E9-AABD-640A-AEF5-C102C75EBA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8">
            <a:extLst>
              <a:ext uri="{FF2B5EF4-FFF2-40B4-BE49-F238E27FC236}">
                <a16:creationId xmlns:a16="http://schemas.microsoft.com/office/drawing/2014/main" id="{C66E6FC4-59D6-073C-4189-D3C05290A7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AA1D6A-0E19-4AA4-96E5-C83DE2BDE008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50049976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horizont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8323A0CC-DE7F-4B07-9AF4-B30EEBB89E3F}"/>
              </a:ext>
            </a:extLst>
          </p:cNvPr>
          <p:cNvSpPr/>
          <p:nvPr userDrawn="1"/>
        </p:nvSpPr>
        <p:spPr>
          <a:xfrm>
            <a:off x="0" y="0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39483337-5C9C-3A82-1E60-298C953CCE1B}"/>
              </a:ext>
            </a:extLst>
          </p:cNvPr>
          <p:cNvSpPr/>
          <p:nvPr userDrawn="1"/>
        </p:nvSpPr>
        <p:spPr>
          <a:xfrm>
            <a:off x="5773738" y="6540500"/>
            <a:ext cx="647700" cy="317500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15">
            <a:extLst>
              <a:ext uri="{FF2B5EF4-FFF2-40B4-BE49-F238E27FC236}">
                <a16:creationId xmlns:a16="http://schemas.microsoft.com/office/drawing/2014/main" id="{B81F0C78-77AD-C295-C877-20FAA59FA4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1" y="1879600"/>
            <a:ext cx="10923588" cy="1547813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9" name="Ondertitel 2"/>
          <p:cNvSpPr>
            <a:spLocks noGrp="1"/>
          </p:cNvSpPr>
          <p:nvPr>
            <p:ph type="subTitle" idx="1"/>
          </p:nvPr>
        </p:nvSpPr>
        <p:spPr>
          <a:xfrm>
            <a:off x="635000" y="3749487"/>
            <a:ext cx="10925176" cy="2077232"/>
          </a:xfrm>
        </p:spPr>
        <p:txBody>
          <a:bodyPr lIns="104400" tIns="90000" rIns="90000" bIns="468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10" name="Tijdelijke aanduiding voor tekst 16"/>
          <p:cNvSpPr>
            <a:spLocks noGrp="1"/>
          </p:cNvSpPr>
          <p:nvPr>
            <p:ph type="body" sz="quarter" idx="10"/>
          </p:nvPr>
        </p:nvSpPr>
        <p:spPr>
          <a:xfrm>
            <a:off x="633413" y="5829387"/>
            <a:ext cx="5005388" cy="389360"/>
          </a:xfrm>
        </p:spPr>
        <p:txBody>
          <a:bodyPr lIns="86400" anchor="b" anchorCtr="0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datum 14">
            <a:extLst>
              <a:ext uri="{FF2B5EF4-FFF2-40B4-BE49-F238E27FC236}">
                <a16:creationId xmlns:a16="http://schemas.microsoft.com/office/drawing/2014/main" id="{B75D1CEC-4943-3EF8-8FE9-2B61619ADF8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5">
            <a:extLst>
              <a:ext uri="{FF2B5EF4-FFF2-40B4-BE49-F238E27FC236}">
                <a16:creationId xmlns:a16="http://schemas.microsoft.com/office/drawing/2014/main" id="{9C3C1EE4-CFCE-A9DF-024C-C34F3402449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6">
            <a:extLst>
              <a:ext uri="{FF2B5EF4-FFF2-40B4-BE49-F238E27FC236}">
                <a16:creationId xmlns:a16="http://schemas.microsoft.com/office/drawing/2014/main" id="{B107DCC8-DFE4-5032-7D0F-CD83ADC22C3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4861F-4996-4549-A8B2-27E4BDE51BB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45566389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C3BB84FF-9A5B-5220-1051-A48FAEFCA44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3" name="Afbeelding 9">
            <a:extLst>
              <a:ext uri="{FF2B5EF4-FFF2-40B4-BE49-F238E27FC236}">
                <a16:creationId xmlns:a16="http://schemas.microsoft.com/office/drawing/2014/main" id="{FD87CB80-0403-8974-F232-C2DF6139DE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CEFD5A83-A8E3-8FD9-D704-80AB30F083EA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4999" y="2636839"/>
            <a:ext cx="5003801" cy="1584325"/>
          </a:xfrm>
        </p:spPr>
        <p:txBody>
          <a:bodyPr anchor="ctr"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5"/>
          </p:nvPr>
        </p:nvSpPr>
        <p:spPr>
          <a:xfrm>
            <a:off x="7791732" y="916925"/>
            <a:ext cx="3766856" cy="817563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ijdelijke aanduiding voor tekst 4"/>
          <p:cNvSpPr>
            <a:spLocks noGrp="1"/>
          </p:cNvSpPr>
          <p:nvPr>
            <p:ph type="body" sz="quarter" idx="16"/>
          </p:nvPr>
        </p:nvSpPr>
        <p:spPr>
          <a:xfrm>
            <a:off x="7791732" y="2061911"/>
            <a:ext cx="3766856" cy="817563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Tijdelijke aanduiding voor tekst 4"/>
          <p:cNvSpPr>
            <a:spLocks noGrp="1"/>
          </p:cNvSpPr>
          <p:nvPr>
            <p:ph type="body" sz="quarter" idx="17"/>
          </p:nvPr>
        </p:nvSpPr>
        <p:spPr>
          <a:xfrm>
            <a:off x="7791732" y="3211200"/>
            <a:ext cx="3766856" cy="817563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Tijdelijke aanduiding voor tekst 4"/>
          <p:cNvSpPr>
            <a:spLocks noGrp="1"/>
          </p:cNvSpPr>
          <p:nvPr>
            <p:ph type="body" sz="quarter" idx="18"/>
          </p:nvPr>
        </p:nvSpPr>
        <p:spPr>
          <a:xfrm>
            <a:off x="7791732" y="4352400"/>
            <a:ext cx="3766856" cy="817563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7" name="Tijdelijke aanduiding voor tekst 4"/>
          <p:cNvSpPr>
            <a:spLocks noGrp="1"/>
          </p:cNvSpPr>
          <p:nvPr>
            <p:ph type="body" sz="quarter" idx="19"/>
          </p:nvPr>
        </p:nvSpPr>
        <p:spPr>
          <a:xfrm>
            <a:off x="7791732" y="5497200"/>
            <a:ext cx="3766856" cy="817563"/>
          </a:xfrm>
        </p:spPr>
        <p:txBody>
          <a:bodyPr anchor="b" anchorCtr="0"/>
          <a:lstStyle>
            <a:lvl1pPr marL="0" indent="0">
              <a:buNone/>
              <a:defRPr sz="1800"/>
            </a:lvl1pPr>
            <a:lvl2pPr marL="313192" indent="0">
              <a:buNone/>
              <a:defRPr/>
            </a:lvl2pPr>
            <a:lvl3pPr marL="629984" indent="0">
              <a:buNone/>
              <a:defRPr/>
            </a:lvl3pPr>
            <a:lvl4pPr marL="943176" indent="0">
              <a:buNone/>
              <a:defRPr/>
            </a:lvl4pPr>
            <a:lvl5pPr marL="1259969" indent="0">
              <a:buNone/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6418728" y="998445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3" name="Tijdelijke aanduiding voor tekst 2"/>
          <p:cNvSpPr>
            <a:spLocks noGrp="1"/>
          </p:cNvSpPr>
          <p:nvPr>
            <p:ph type="body" sz="quarter" idx="11"/>
          </p:nvPr>
        </p:nvSpPr>
        <p:spPr>
          <a:xfrm>
            <a:off x="6418728" y="2143675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4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6418728" y="3288904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5" name="Tijdelijke aanduiding voor tekst 2"/>
          <p:cNvSpPr>
            <a:spLocks noGrp="1"/>
          </p:cNvSpPr>
          <p:nvPr>
            <p:ph type="body" sz="quarter" idx="13"/>
          </p:nvPr>
        </p:nvSpPr>
        <p:spPr>
          <a:xfrm>
            <a:off x="6418728" y="4434133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6" name="Tijdelijke aanduiding voor tekst 2"/>
          <p:cNvSpPr>
            <a:spLocks noGrp="1"/>
          </p:cNvSpPr>
          <p:nvPr>
            <p:ph type="body" sz="quarter" idx="14"/>
          </p:nvPr>
        </p:nvSpPr>
        <p:spPr>
          <a:xfrm>
            <a:off x="6418728" y="5579361"/>
            <a:ext cx="1373005" cy="817563"/>
          </a:xfrm>
        </p:spPr>
        <p:txBody>
          <a:bodyPr bIns="46800" anchor="b" anchorCtr="0"/>
          <a:lstStyle>
            <a:lvl1pPr marL="0" indent="0" algn="r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EA45CFD-7BEC-05C3-4CD6-C4C579A208F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8">
            <a:extLst>
              <a:ext uri="{FF2B5EF4-FFF2-40B4-BE49-F238E27FC236}">
                <a16:creationId xmlns:a16="http://schemas.microsoft.com/office/drawing/2014/main" id="{4DC92466-9A6F-DCA2-2788-D36DE573F46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17">
            <a:extLst>
              <a:ext uri="{FF2B5EF4-FFF2-40B4-BE49-F238E27FC236}">
                <a16:creationId xmlns:a16="http://schemas.microsoft.com/office/drawing/2014/main" id="{72368A78-D93B-5D1E-2C11-4C0FCD995EA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7094EA-80D9-43C4-BE24-23291FE5C252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72829796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FE4CFBCA-C652-5D9D-C33F-62A0FB643E1D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3" name="Afbeelding 9">
            <a:extLst>
              <a:ext uri="{FF2B5EF4-FFF2-40B4-BE49-F238E27FC236}">
                <a16:creationId xmlns:a16="http://schemas.microsoft.com/office/drawing/2014/main" id="{C328FE72-1274-60D5-E9C1-2E645D680D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88932081-D58E-21D5-617A-B797BDC75D4C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11" name="Tijdelijke aanduiding voor tekst 11"/>
          <p:cNvSpPr>
            <a:spLocks noGrp="1"/>
          </p:cNvSpPr>
          <p:nvPr>
            <p:ph type="body" sz="quarter" idx="13"/>
          </p:nvPr>
        </p:nvSpPr>
        <p:spPr>
          <a:xfrm>
            <a:off x="6553200" y="2289600"/>
            <a:ext cx="5004000" cy="3931813"/>
          </a:xfrm>
        </p:spPr>
        <p:txBody>
          <a:bodyPr/>
          <a:lstStyle>
            <a:lvl1pPr marL="457189" indent="-457189">
              <a:buClr>
                <a:schemeClr val="bg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3983" indent="-215995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553200" y="1051202"/>
            <a:ext cx="5004000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4" name="Tijdelijke aanduiding voor afbeelding 2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8243" cy="6858000"/>
          </a:xfrm>
          <a:custGeom>
            <a:avLst/>
            <a:gdLst>
              <a:gd name="connsiteX0" fmla="*/ 0 w 6098242"/>
              <a:gd name="connsiteY0" fmla="*/ 0 h 6858000"/>
              <a:gd name="connsiteX1" fmla="*/ 5862000 w 6098242"/>
              <a:gd name="connsiteY1" fmla="*/ 0 h 6858000"/>
              <a:gd name="connsiteX2" fmla="*/ 5862000 w 6098242"/>
              <a:gd name="connsiteY2" fmla="*/ 708025 h 6858000"/>
              <a:gd name="connsiteX3" fmla="*/ 6098242 w 6098242"/>
              <a:gd name="connsiteY3" fmla="*/ 708025 h 6858000"/>
              <a:gd name="connsiteX4" fmla="*/ 6098242 w 6098242"/>
              <a:gd name="connsiteY4" fmla="*/ 6620400 h 6858000"/>
              <a:gd name="connsiteX5" fmla="*/ 5862000 w 6098242"/>
              <a:gd name="connsiteY5" fmla="*/ 6620400 h 6858000"/>
              <a:gd name="connsiteX6" fmla="*/ 5862000 w 6098242"/>
              <a:gd name="connsiteY6" fmla="*/ 6858000 h 6858000"/>
              <a:gd name="connsiteX7" fmla="*/ 0 w 609824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8242" h="6858000">
                <a:moveTo>
                  <a:pt x="0" y="0"/>
                </a:moveTo>
                <a:lnTo>
                  <a:pt x="5862000" y="0"/>
                </a:lnTo>
                <a:lnTo>
                  <a:pt x="5862000" y="708025"/>
                </a:lnTo>
                <a:lnTo>
                  <a:pt x="6098242" y="708025"/>
                </a:lnTo>
                <a:lnTo>
                  <a:pt x="6098242" y="6620400"/>
                </a:lnTo>
                <a:lnTo>
                  <a:pt x="5862000" y="6620400"/>
                </a:lnTo>
                <a:lnTo>
                  <a:pt x="586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</p:spPr>
        <p:txBody>
          <a:bodyPr wrap="square" lIns="612000" anchor="ctr" anchorCtr="0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5" name="Tijdelijke aanduiding voor datum 16">
            <a:extLst>
              <a:ext uri="{FF2B5EF4-FFF2-40B4-BE49-F238E27FC236}">
                <a16:creationId xmlns:a16="http://schemas.microsoft.com/office/drawing/2014/main" id="{AA18F338-1637-7C54-C513-2C2616B7E2A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17">
            <a:extLst>
              <a:ext uri="{FF2B5EF4-FFF2-40B4-BE49-F238E27FC236}">
                <a16:creationId xmlns:a16="http://schemas.microsoft.com/office/drawing/2014/main" id="{2EC2A579-3C7F-175B-CAE4-5C2EC1D3132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18">
            <a:extLst>
              <a:ext uri="{FF2B5EF4-FFF2-40B4-BE49-F238E27FC236}">
                <a16:creationId xmlns:a16="http://schemas.microsoft.com/office/drawing/2014/main" id="{21B70CC2-9716-0F5E-76CF-90EAD4CF64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8E6F37-127C-472F-AE7F-F9954E189865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1732592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B22A5C64-2EA7-D624-B939-5E22F1ABC972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5" name="Afbeelding 9">
            <a:extLst>
              <a:ext uri="{FF2B5EF4-FFF2-40B4-BE49-F238E27FC236}">
                <a16:creationId xmlns:a16="http://schemas.microsoft.com/office/drawing/2014/main" id="{EB5921C5-C0D3-CDBC-2343-3F7998244A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DC334BB7-84D2-6AF2-223B-BE8F9E8A3357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999" y="2636838"/>
            <a:ext cx="5003801" cy="1584325"/>
          </a:xfrm>
        </p:spPr>
        <p:txBody>
          <a:bodyPr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4999" y="4221163"/>
            <a:ext cx="5003801" cy="2000251"/>
          </a:xfrm>
        </p:spPr>
        <p:txBody>
          <a:bodyPr tIns="90000" rIns="100800"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34999" y="1171575"/>
            <a:ext cx="5003801" cy="1463675"/>
          </a:xfrm>
        </p:spPr>
        <p:txBody>
          <a:bodyPr rIns="0" anchor="b" anchorCtr="0"/>
          <a:lstStyle>
            <a:lvl1pPr marL="0" indent="0" algn="r">
              <a:buNone/>
              <a:defRPr sz="9600" b="1" i="0">
                <a:solidFill>
                  <a:schemeClr val="bg1"/>
                </a:solidFill>
              </a:defRPr>
            </a:lvl1pPr>
            <a:lvl2pPr marL="313192" indent="0" algn="r">
              <a:buNone/>
              <a:defRPr/>
            </a:lvl2pPr>
            <a:lvl3pPr marL="629984" indent="0" algn="r">
              <a:buNone/>
              <a:defRPr/>
            </a:lvl3pPr>
            <a:lvl4pPr marL="943176" indent="0" algn="r">
              <a:buNone/>
              <a:defRPr/>
            </a:lvl4pPr>
            <a:lvl5pPr marL="1259969" indent="0" algn="r">
              <a:buNone/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7" name="Tijdelijke aanduiding voor datum 9">
            <a:extLst>
              <a:ext uri="{FF2B5EF4-FFF2-40B4-BE49-F238E27FC236}">
                <a16:creationId xmlns:a16="http://schemas.microsoft.com/office/drawing/2014/main" id="{E9C4B70F-1309-3E4C-4BB3-60328EBE0BD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voettekst 11">
            <a:extLst>
              <a:ext uri="{FF2B5EF4-FFF2-40B4-BE49-F238E27FC236}">
                <a16:creationId xmlns:a16="http://schemas.microsoft.com/office/drawing/2014/main" id="{0C1C15A2-45B4-EBCB-1D2E-5E83FD3764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0" name="Tijdelijke aanduiding voor dianummer 12">
            <a:extLst>
              <a:ext uri="{FF2B5EF4-FFF2-40B4-BE49-F238E27FC236}">
                <a16:creationId xmlns:a16="http://schemas.microsoft.com/office/drawing/2014/main" id="{E1666693-E2B5-EBEA-73E6-DC782FD3A7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103A47-95A7-489B-BF8E-8A769D3921F0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0459737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35000" y="2276475"/>
            <a:ext cx="5226051" cy="394493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553199" y="2276475"/>
            <a:ext cx="5004000" cy="394493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5" name="Tijdelijke aanduiding voor datum 3">
            <a:extLst>
              <a:ext uri="{FF2B5EF4-FFF2-40B4-BE49-F238E27FC236}">
                <a16:creationId xmlns:a16="http://schemas.microsoft.com/office/drawing/2014/main" id="{532B3B66-9A40-A7F9-2F8F-025D113E1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4">
            <a:extLst>
              <a:ext uri="{FF2B5EF4-FFF2-40B4-BE49-F238E27FC236}">
                <a16:creationId xmlns:a16="http://schemas.microsoft.com/office/drawing/2014/main" id="{BCE7BC5D-FA84-10F5-27A8-022AB725F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4916E3C4-E99F-A7B6-80EE-9C2D53178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41AB68-BA16-44C4-B655-3D2CA1550AB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08871877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5001" y="2306037"/>
            <a:ext cx="5004000" cy="648000"/>
          </a:xfrm>
          <a:noFill/>
        </p:spPr>
        <p:txBody>
          <a:bodyPr lIns="180000" tIns="180000" rIns="180000" bIns="72000" anchor="b">
            <a:no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35001" y="2953739"/>
            <a:ext cx="5004000" cy="3267676"/>
          </a:xfrm>
          <a:noFill/>
        </p:spPr>
        <p:txBody>
          <a:bodyPr lIns="180000" tIns="180000" rIns="180000" bIns="72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553200" y="2306038"/>
            <a:ext cx="5004000" cy="647228"/>
          </a:xfrm>
          <a:noFill/>
        </p:spPr>
        <p:txBody>
          <a:bodyPr lIns="180000" tIns="180000" rIns="180000" bIns="72000" anchor="b">
            <a:noAutofit/>
          </a:bodyPr>
          <a:lstStyle>
            <a:lvl1pPr marL="0" indent="0">
              <a:buNone/>
              <a:defRPr sz="1800" b="1" cap="all" baseline="0">
                <a:solidFill>
                  <a:schemeClr val="tx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553201" y="2953739"/>
            <a:ext cx="5005388" cy="3267676"/>
          </a:xfrm>
          <a:noFill/>
        </p:spPr>
        <p:txBody>
          <a:bodyPr lIns="180000" tIns="180000" rIns="180000" bIns="72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433C1490-F463-73F6-CDED-A5A86AA899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4">
            <a:extLst>
              <a:ext uri="{FF2B5EF4-FFF2-40B4-BE49-F238E27FC236}">
                <a16:creationId xmlns:a16="http://schemas.microsoft.com/office/drawing/2014/main" id="{6C2BEF7F-3B55-9932-E58C-B394B51D6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5">
            <a:extLst>
              <a:ext uri="{FF2B5EF4-FFF2-40B4-BE49-F238E27FC236}">
                <a16:creationId xmlns:a16="http://schemas.microsoft.com/office/drawing/2014/main" id="{EC687FAD-8EB0-09A9-0EC2-6C1136D77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525A99-33FA-40A7-99EA-C9423A37C8F4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4816526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datum 3">
            <a:extLst>
              <a:ext uri="{FF2B5EF4-FFF2-40B4-BE49-F238E27FC236}">
                <a16:creationId xmlns:a16="http://schemas.microsoft.com/office/drawing/2014/main" id="{F75BD0D9-C6F0-275E-6DB9-EE500595EA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A93FEA07-A005-2D85-747E-B28B25B3E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E4DC2FD5-C444-9895-437A-857DC6EBB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03F05B-3A9D-4854-813C-5B80F2B30F90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33004237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8F847321-92B0-B253-DFF0-B507065940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4">
            <a:extLst>
              <a:ext uri="{FF2B5EF4-FFF2-40B4-BE49-F238E27FC236}">
                <a16:creationId xmlns:a16="http://schemas.microsoft.com/office/drawing/2014/main" id="{6D84A6E8-BA56-356E-5031-BE662B94B6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5">
            <a:extLst>
              <a:ext uri="{FF2B5EF4-FFF2-40B4-BE49-F238E27FC236}">
                <a16:creationId xmlns:a16="http://schemas.microsoft.com/office/drawing/2014/main" id="{AB10D0C5-5E9A-6DA9-AD6C-4D007E479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8CA618-2243-4E1A-A648-D166536127E3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63426002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635000" y="3427414"/>
            <a:ext cx="5003800" cy="2793999"/>
          </a:xfrm>
        </p:spPr>
        <p:txBody>
          <a:bodyPr anchor="t" anchorCtr="0"/>
          <a:lstStyle>
            <a:lvl1pPr marL="0" indent="0">
              <a:buNone/>
              <a:defRPr sz="20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ijdelijke aanduiding voor inhoud 9"/>
          <p:cNvSpPr>
            <a:spLocks noGrp="1"/>
          </p:cNvSpPr>
          <p:nvPr>
            <p:ph sz="quarter" idx="13"/>
          </p:nvPr>
        </p:nvSpPr>
        <p:spPr>
          <a:xfrm>
            <a:off x="6554588" y="1052514"/>
            <a:ext cx="5004000" cy="51689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35000" y="1052514"/>
            <a:ext cx="5003800" cy="948047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6D403EE5-9F1B-9179-2BC5-6AFC997079D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760C2BC-A7C3-6AF9-33E5-493F07ADFE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BC7FABA-6D38-9DC0-98B7-438BDE0833E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719DEF-EAB2-42E1-9A24-D1557B090BEA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59029250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te tekst 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5001" y="1052515"/>
            <a:ext cx="10923588" cy="4024800"/>
          </a:xfrm>
        </p:spPr>
        <p:txBody>
          <a:bodyPr>
            <a:normAutofit/>
          </a:bodyPr>
          <a:lstStyle>
            <a:lvl1pPr algn="l"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Ondertitel 2"/>
          <p:cNvSpPr>
            <a:spLocks noGrp="1"/>
          </p:cNvSpPr>
          <p:nvPr>
            <p:ph type="subTitle" idx="1"/>
          </p:nvPr>
        </p:nvSpPr>
        <p:spPr>
          <a:xfrm>
            <a:off x="635000" y="5077315"/>
            <a:ext cx="5461000" cy="1144099"/>
          </a:xfrm>
        </p:spPr>
        <p:txBody>
          <a:bodyPr lIns="162000" tIns="90000" rIns="90000"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2" name="Tijdelijke aanduiding voor datum 8">
            <a:extLst>
              <a:ext uri="{FF2B5EF4-FFF2-40B4-BE49-F238E27FC236}">
                <a16:creationId xmlns:a16="http://schemas.microsoft.com/office/drawing/2014/main" id="{C7F077E4-887B-7E47-7386-499E02BCE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9">
            <a:extLst>
              <a:ext uri="{FF2B5EF4-FFF2-40B4-BE49-F238E27FC236}">
                <a16:creationId xmlns:a16="http://schemas.microsoft.com/office/drawing/2014/main" id="{BB79C7D2-03AE-C4F7-B887-4D1E7345C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10">
            <a:extLst>
              <a:ext uri="{FF2B5EF4-FFF2-40B4-BE49-F238E27FC236}">
                <a16:creationId xmlns:a16="http://schemas.microsoft.com/office/drawing/2014/main" id="{5B10271C-D6B1-F174-0E0F-82F2C5206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A597E097-CC72-4A74-9C11-87FFBF6169B0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074777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1C6DA8AE-F58C-EFA2-3747-C3B970E17FD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pic>
        <p:nvPicPr>
          <p:cNvPr id="5" name="Afbeelding 9">
            <a:extLst>
              <a:ext uri="{FF2B5EF4-FFF2-40B4-BE49-F238E27FC236}">
                <a16:creationId xmlns:a16="http://schemas.microsoft.com/office/drawing/2014/main" id="{CF362958-0969-613B-844D-23A7069DB9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1F9B9AE3-2939-C009-072A-9680230F5751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999" y="2636837"/>
            <a:ext cx="5003801" cy="1584325"/>
          </a:xfrm>
        </p:spPr>
        <p:txBody>
          <a:bodyPr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34999" y="4221162"/>
            <a:ext cx="5003801" cy="2000251"/>
          </a:xfrm>
        </p:spPr>
        <p:txBody>
          <a:bodyPr tIns="90000" rIns="100800"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34999" y="1171575"/>
            <a:ext cx="5003801" cy="1463674"/>
          </a:xfrm>
        </p:spPr>
        <p:txBody>
          <a:bodyPr rIns="0" anchor="b" anchorCtr="0"/>
          <a:lstStyle>
            <a:lvl1pPr marL="0" indent="0" algn="r">
              <a:buNone/>
              <a:defRPr sz="9600" b="1" i="0">
                <a:solidFill>
                  <a:schemeClr val="bg1"/>
                </a:solidFill>
              </a:defRPr>
            </a:lvl1pPr>
            <a:lvl2pPr marL="313200" indent="0" algn="r">
              <a:buNone/>
              <a:defRPr/>
            </a:lvl2pPr>
            <a:lvl3pPr marL="630000" indent="0" algn="r">
              <a:buNone/>
              <a:defRPr/>
            </a:lvl3pPr>
            <a:lvl4pPr marL="943200" indent="0" algn="r">
              <a:buNone/>
              <a:defRPr/>
            </a:lvl4pPr>
            <a:lvl5pPr marL="1260000" indent="0" algn="r">
              <a:buNone/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7" name="Tijdelijke aanduiding voor datum 9">
            <a:extLst>
              <a:ext uri="{FF2B5EF4-FFF2-40B4-BE49-F238E27FC236}">
                <a16:creationId xmlns:a16="http://schemas.microsoft.com/office/drawing/2014/main" id="{0AC5134B-3788-217C-AF02-7BDA69E2063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voettekst 11">
            <a:extLst>
              <a:ext uri="{FF2B5EF4-FFF2-40B4-BE49-F238E27FC236}">
                <a16:creationId xmlns:a16="http://schemas.microsoft.com/office/drawing/2014/main" id="{CEFA9E5B-EAD3-A531-A1E3-02E3633536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0" name="Tijdelijke aanduiding voor dianummer 12">
            <a:extLst>
              <a:ext uri="{FF2B5EF4-FFF2-40B4-BE49-F238E27FC236}">
                <a16:creationId xmlns:a16="http://schemas.microsoft.com/office/drawing/2014/main" id="{2C8060F8-FB72-F3C4-712C-BBAEAEAF609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85CB2D-6D3B-42B2-B7A2-24B1A5B3DD0E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28674997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te teks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635001" y="1052515"/>
            <a:ext cx="10923588" cy="4024800"/>
          </a:xfrm>
        </p:spPr>
        <p:txBody>
          <a:bodyPr>
            <a:normAutofit/>
          </a:bodyPr>
          <a:lstStyle>
            <a:lvl1pPr algn="l"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Ondertitel 2"/>
          <p:cNvSpPr>
            <a:spLocks noGrp="1"/>
          </p:cNvSpPr>
          <p:nvPr>
            <p:ph type="subTitle" idx="1"/>
          </p:nvPr>
        </p:nvSpPr>
        <p:spPr>
          <a:xfrm>
            <a:off x="635000" y="5077315"/>
            <a:ext cx="5461000" cy="1144099"/>
          </a:xfrm>
        </p:spPr>
        <p:txBody>
          <a:bodyPr lIns="162000" tIns="90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2" name="Tijdelijke aanduiding voor datum 5">
            <a:extLst>
              <a:ext uri="{FF2B5EF4-FFF2-40B4-BE49-F238E27FC236}">
                <a16:creationId xmlns:a16="http://schemas.microsoft.com/office/drawing/2014/main" id="{C1B9537A-F999-D916-96AC-53032AE37F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6">
            <a:extLst>
              <a:ext uri="{FF2B5EF4-FFF2-40B4-BE49-F238E27FC236}">
                <a16:creationId xmlns:a16="http://schemas.microsoft.com/office/drawing/2014/main" id="{F3172D4E-7F76-5E05-7721-E5C3C8A14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7">
            <a:extLst>
              <a:ext uri="{FF2B5EF4-FFF2-40B4-BE49-F238E27FC236}">
                <a16:creationId xmlns:a16="http://schemas.microsoft.com/office/drawing/2014/main" id="{207D3C9A-2BEB-BE0A-BB35-D89D2D1DE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08EBE6-4288-41FF-80F7-4D8CA17DEDD5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979511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vlak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1AA89A2C-BE19-8884-89AE-DEC72B81B408}"/>
              </a:ext>
            </a:extLst>
          </p:cNvPr>
          <p:cNvSpPr/>
          <p:nvPr userDrawn="1"/>
        </p:nvSpPr>
        <p:spPr>
          <a:xfrm>
            <a:off x="6096000" y="-1588"/>
            <a:ext cx="6096000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nl-NL" sz="1000">
              <a:solidFill>
                <a:schemeClr val="bg1"/>
              </a:solidFill>
            </a:endParaRPr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976CC3BF-3FB8-B7F6-1B56-396CC88663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58376A32-F640-0B17-D887-C43C0FCD052B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35000" y="2636839"/>
            <a:ext cx="5003799" cy="1584324"/>
          </a:xfrm>
        </p:spPr>
        <p:txBody>
          <a:bodyPr anchor="ctr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6554588" y="1066800"/>
            <a:ext cx="5004000" cy="5154613"/>
          </a:xfrm>
        </p:spPr>
        <p:txBody>
          <a:bodyPr anchor="ctr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10">
            <a:extLst>
              <a:ext uri="{FF2B5EF4-FFF2-40B4-BE49-F238E27FC236}">
                <a16:creationId xmlns:a16="http://schemas.microsoft.com/office/drawing/2014/main" id="{C56CDA88-F22B-2FF1-CBCE-823F7A39FD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voettekst 11">
            <a:extLst>
              <a:ext uri="{FF2B5EF4-FFF2-40B4-BE49-F238E27FC236}">
                <a16:creationId xmlns:a16="http://schemas.microsoft.com/office/drawing/2014/main" id="{B00EBC84-6163-8AF8-ED5C-618C62F5E88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9" name="Tijdelijke aanduiding voor dianummer 12">
            <a:extLst>
              <a:ext uri="{FF2B5EF4-FFF2-40B4-BE49-F238E27FC236}">
                <a16:creationId xmlns:a16="http://schemas.microsoft.com/office/drawing/2014/main" id="{22521F1E-27A0-E392-C449-3A09C3936B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E03933-A966-48DF-A8EF-2544E6737D66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2066622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vla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244B9417-D572-2374-845F-6F5F19BBB4C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3" name="Afbeelding 9">
            <a:extLst>
              <a:ext uri="{FF2B5EF4-FFF2-40B4-BE49-F238E27FC236}">
                <a16:creationId xmlns:a16="http://schemas.microsoft.com/office/drawing/2014/main" id="{35B072EF-B405-3D46-FA17-E71EEAD98E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5062AA08-40F3-42B0-2728-59DFAAD8ADB9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34999" y="2636839"/>
            <a:ext cx="5004000" cy="1584324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/>
          </p:nvPr>
        </p:nvSpPr>
        <p:spPr>
          <a:xfrm>
            <a:off x="6553199" y="1052514"/>
            <a:ext cx="5004000" cy="5168900"/>
          </a:xfrm>
        </p:spPr>
        <p:txBody>
          <a:bodyPr anchor="ctr" anchorCtr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12">
            <a:extLst>
              <a:ext uri="{FF2B5EF4-FFF2-40B4-BE49-F238E27FC236}">
                <a16:creationId xmlns:a16="http://schemas.microsoft.com/office/drawing/2014/main" id="{C4C90F1F-3232-2C87-3336-019E00F8B66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voettekst 13">
            <a:extLst>
              <a:ext uri="{FF2B5EF4-FFF2-40B4-BE49-F238E27FC236}">
                <a16:creationId xmlns:a16="http://schemas.microsoft.com/office/drawing/2014/main" id="{FB49E379-CFD9-F1D2-2321-BA798B5814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9" name="Tijdelijke aanduiding voor dianummer 14">
            <a:extLst>
              <a:ext uri="{FF2B5EF4-FFF2-40B4-BE49-F238E27FC236}">
                <a16:creationId xmlns:a16="http://schemas.microsoft.com/office/drawing/2014/main" id="{835572BF-2816-7796-0D26-0D4ABDAE24E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ACAA07-DB2B-494F-BD1C-DE167A984FBE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4848395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635000" y="3427413"/>
            <a:ext cx="5003800" cy="2794000"/>
          </a:xfrm>
        </p:spPr>
        <p:txBody>
          <a:bodyPr anchor="t" anchorCtr="0"/>
          <a:lstStyle>
            <a:lvl1pPr marL="0" indent="0">
              <a:buNone/>
              <a:defRPr sz="20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635000" y="1052514"/>
            <a:ext cx="5003800" cy="948047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8" name="Tijdelijke aanduiding voor afbeelding 9"/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29238 w 6096000"/>
              <a:gd name="connsiteY0" fmla="*/ 0 h 6860381"/>
              <a:gd name="connsiteX1" fmla="*/ 6091238 w 6096000"/>
              <a:gd name="connsiteY1" fmla="*/ 0 h 6860381"/>
              <a:gd name="connsiteX2" fmla="*/ 6091238 w 6096000"/>
              <a:gd name="connsiteY2" fmla="*/ 2381 h 6860381"/>
              <a:gd name="connsiteX3" fmla="*/ 6096000 w 6096000"/>
              <a:gd name="connsiteY3" fmla="*/ 2381 h 6860381"/>
              <a:gd name="connsiteX4" fmla="*/ 6096000 w 6096000"/>
              <a:gd name="connsiteY4" fmla="*/ 6860381 h 6860381"/>
              <a:gd name="connsiteX5" fmla="*/ 6095999 w 6096000"/>
              <a:gd name="connsiteY5" fmla="*/ 6860381 h 6860381"/>
              <a:gd name="connsiteX6" fmla="*/ 3832225 w 6096000"/>
              <a:gd name="connsiteY6" fmla="*/ 6860381 h 6860381"/>
              <a:gd name="connsiteX7" fmla="*/ 232201 w 6096000"/>
              <a:gd name="connsiteY7" fmla="*/ 6860381 h 6860381"/>
              <a:gd name="connsiteX8" fmla="*/ 232201 w 6096000"/>
              <a:gd name="connsiteY8" fmla="*/ 6626381 h 6860381"/>
              <a:gd name="connsiteX9" fmla="*/ 0 w 6096000"/>
              <a:gd name="connsiteY9" fmla="*/ 6626381 h 6860381"/>
              <a:gd name="connsiteX10" fmla="*/ 0 w 6096000"/>
              <a:gd name="connsiteY10" fmla="*/ 5488781 h 6860381"/>
              <a:gd name="connsiteX11" fmla="*/ 1 w 6096000"/>
              <a:gd name="connsiteY11" fmla="*/ 5488781 h 6860381"/>
              <a:gd name="connsiteX12" fmla="*/ 1 w 6096000"/>
              <a:gd name="connsiteY12" fmla="*/ 948531 h 6860381"/>
              <a:gd name="connsiteX13" fmla="*/ 1 w 6096000"/>
              <a:gd name="connsiteY13" fmla="*/ 711200 h 6860381"/>
              <a:gd name="connsiteX14" fmla="*/ 1 w 6096000"/>
              <a:gd name="connsiteY14" fmla="*/ 2381 h 6860381"/>
              <a:gd name="connsiteX15" fmla="*/ 2 w 6096000"/>
              <a:gd name="connsiteY15" fmla="*/ 2381 h 6860381"/>
              <a:gd name="connsiteX16" fmla="*/ 2 w 6096000"/>
              <a:gd name="connsiteY16" fmla="*/ 711994 h 6860381"/>
              <a:gd name="connsiteX17" fmla="*/ 233366 w 6096000"/>
              <a:gd name="connsiteY17" fmla="*/ 711994 h 6860381"/>
              <a:gd name="connsiteX18" fmla="*/ 233366 w 6096000"/>
              <a:gd name="connsiteY18" fmla="*/ 2381 h 6860381"/>
              <a:gd name="connsiteX19" fmla="*/ 229238 w 6096000"/>
              <a:gd name="connsiteY19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0" h="6860381">
                <a:moveTo>
                  <a:pt x="229238" y="0"/>
                </a:moveTo>
                <a:lnTo>
                  <a:pt x="6091238" y="0"/>
                </a:lnTo>
                <a:lnTo>
                  <a:pt x="6091238" y="2381"/>
                </a:lnTo>
                <a:lnTo>
                  <a:pt x="6096000" y="2381"/>
                </a:lnTo>
                <a:lnTo>
                  <a:pt x="6096000" y="6860381"/>
                </a:lnTo>
                <a:lnTo>
                  <a:pt x="6095999" y="6860381"/>
                </a:lnTo>
                <a:lnTo>
                  <a:pt x="3832225" y="6860381"/>
                </a:lnTo>
                <a:lnTo>
                  <a:pt x="232201" y="6860381"/>
                </a:lnTo>
                <a:lnTo>
                  <a:pt x="232201" y="6626381"/>
                </a:lnTo>
                <a:lnTo>
                  <a:pt x="0" y="6626381"/>
                </a:lnTo>
                <a:lnTo>
                  <a:pt x="0" y="5488781"/>
                </a:lnTo>
                <a:lnTo>
                  <a:pt x="1" y="5488781"/>
                </a:lnTo>
                <a:lnTo>
                  <a:pt x="1" y="948531"/>
                </a:lnTo>
                <a:lnTo>
                  <a:pt x="1" y="711200"/>
                </a:lnTo>
                <a:lnTo>
                  <a:pt x="1" y="2381"/>
                </a:lnTo>
                <a:lnTo>
                  <a:pt x="2" y="2381"/>
                </a:lnTo>
                <a:lnTo>
                  <a:pt x="2" y="711994"/>
                </a:lnTo>
                <a:lnTo>
                  <a:pt x="233366" y="711994"/>
                </a:lnTo>
                <a:lnTo>
                  <a:pt x="233366" y="2381"/>
                </a:lnTo>
                <a:lnTo>
                  <a:pt x="229238" y="23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632D445C-7361-8C8D-44B9-5ADE0AFDEBB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voettekst 4">
            <a:extLst>
              <a:ext uri="{FF2B5EF4-FFF2-40B4-BE49-F238E27FC236}">
                <a16:creationId xmlns:a16="http://schemas.microsoft.com/office/drawing/2014/main" id="{9BBE8C43-9499-4168-BC83-74A378344CB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AD205AA0-1968-B66C-A9E5-5AC565C255E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9C1FBA-0945-41B8-9B31-F2977195EEC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7918123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verticaal k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7C5F960C-B82F-EDA6-B780-2E45E59E1272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63143AA5-C4E6-36A1-4808-0FD0E7464A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DE435CB2-EC89-AC0B-40C7-4C4F951912E1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5"/>
          </p:nvPr>
        </p:nvSpPr>
        <p:spPr>
          <a:xfrm>
            <a:off x="635001" y="2289600"/>
            <a:ext cx="5005388" cy="393541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5" y="1051202"/>
            <a:ext cx="5004595" cy="94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1" name="Tijdelijke aanduiding voor afbeelding 9"/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29238 w 6096000"/>
              <a:gd name="connsiteY0" fmla="*/ 0 h 6860381"/>
              <a:gd name="connsiteX1" fmla="*/ 6091238 w 6096000"/>
              <a:gd name="connsiteY1" fmla="*/ 0 h 6860381"/>
              <a:gd name="connsiteX2" fmla="*/ 6091238 w 6096000"/>
              <a:gd name="connsiteY2" fmla="*/ 2381 h 6860381"/>
              <a:gd name="connsiteX3" fmla="*/ 6096000 w 6096000"/>
              <a:gd name="connsiteY3" fmla="*/ 2381 h 6860381"/>
              <a:gd name="connsiteX4" fmla="*/ 6096000 w 6096000"/>
              <a:gd name="connsiteY4" fmla="*/ 6860381 h 6860381"/>
              <a:gd name="connsiteX5" fmla="*/ 6095999 w 6096000"/>
              <a:gd name="connsiteY5" fmla="*/ 6860381 h 6860381"/>
              <a:gd name="connsiteX6" fmla="*/ 3832225 w 6096000"/>
              <a:gd name="connsiteY6" fmla="*/ 6860381 h 6860381"/>
              <a:gd name="connsiteX7" fmla="*/ 232201 w 6096000"/>
              <a:gd name="connsiteY7" fmla="*/ 6860381 h 6860381"/>
              <a:gd name="connsiteX8" fmla="*/ 232201 w 6096000"/>
              <a:gd name="connsiteY8" fmla="*/ 6626381 h 6860381"/>
              <a:gd name="connsiteX9" fmla="*/ 0 w 6096000"/>
              <a:gd name="connsiteY9" fmla="*/ 6626381 h 6860381"/>
              <a:gd name="connsiteX10" fmla="*/ 0 w 6096000"/>
              <a:gd name="connsiteY10" fmla="*/ 5488781 h 6860381"/>
              <a:gd name="connsiteX11" fmla="*/ 1 w 6096000"/>
              <a:gd name="connsiteY11" fmla="*/ 5488781 h 6860381"/>
              <a:gd name="connsiteX12" fmla="*/ 1 w 6096000"/>
              <a:gd name="connsiteY12" fmla="*/ 948531 h 6860381"/>
              <a:gd name="connsiteX13" fmla="*/ 1 w 6096000"/>
              <a:gd name="connsiteY13" fmla="*/ 711200 h 6860381"/>
              <a:gd name="connsiteX14" fmla="*/ 1 w 6096000"/>
              <a:gd name="connsiteY14" fmla="*/ 2381 h 6860381"/>
              <a:gd name="connsiteX15" fmla="*/ 2 w 6096000"/>
              <a:gd name="connsiteY15" fmla="*/ 2381 h 6860381"/>
              <a:gd name="connsiteX16" fmla="*/ 2 w 6096000"/>
              <a:gd name="connsiteY16" fmla="*/ 711994 h 6860381"/>
              <a:gd name="connsiteX17" fmla="*/ 233366 w 6096000"/>
              <a:gd name="connsiteY17" fmla="*/ 711994 h 6860381"/>
              <a:gd name="connsiteX18" fmla="*/ 233366 w 6096000"/>
              <a:gd name="connsiteY18" fmla="*/ 2381 h 6860381"/>
              <a:gd name="connsiteX19" fmla="*/ 229238 w 6096000"/>
              <a:gd name="connsiteY19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0" h="6860381">
                <a:moveTo>
                  <a:pt x="229238" y="0"/>
                </a:moveTo>
                <a:lnTo>
                  <a:pt x="6091238" y="0"/>
                </a:lnTo>
                <a:lnTo>
                  <a:pt x="6091238" y="2381"/>
                </a:lnTo>
                <a:lnTo>
                  <a:pt x="6096000" y="2381"/>
                </a:lnTo>
                <a:lnTo>
                  <a:pt x="6096000" y="6860381"/>
                </a:lnTo>
                <a:lnTo>
                  <a:pt x="6095999" y="6860381"/>
                </a:lnTo>
                <a:lnTo>
                  <a:pt x="3832225" y="6860381"/>
                </a:lnTo>
                <a:lnTo>
                  <a:pt x="232201" y="6860381"/>
                </a:lnTo>
                <a:lnTo>
                  <a:pt x="232201" y="6626381"/>
                </a:lnTo>
                <a:lnTo>
                  <a:pt x="0" y="6626381"/>
                </a:lnTo>
                <a:lnTo>
                  <a:pt x="0" y="5488781"/>
                </a:lnTo>
                <a:lnTo>
                  <a:pt x="1" y="5488781"/>
                </a:lnTo>
                <a:lnTo>
                  <a:pt x="1" y="948531"/>
                </a:lnTo>
                <a:lnTo>
                  <a:pt x="1" y="711200"/>
                </a:lnTo>
                <a:lnTo>
                  <a:pt x="1" y="2381"/>
                </a:lnTo>
                <a:lnTo>
                  <a:pt x="2" y="2381"/>
                </a:lnTo>
                <a:lnTo>
                  <a:pt x="2" y="711994"/>
                </a:lnTo>
                <a:lnTo>
                  <a:pt x="233366" y="711994"/>
                </a:lnTo>
                <a:lnTo>
                  <a:pt x="233366" y="2381"/>
                </a:lnTo>
                <a:lnTo>
                  <a:pt x="229238" y="23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6" name="Tijdelijke aanduiding voor datum 19">
            <a:extLst>
              <a:ext uri="{FF2B5EF4-FFF2-40B4-BE49-F238E27FC236}">
                <a16:creationId xmlns:a16="http://schemas.microsoft.com/office/drawing/2014/main" id="{6C40C5B5-723D-BF39-B9B0-48860F25777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voettekst 20">
            <a:extLst>
              <a:ext uri="{FF2B5EF4-FFF2-40B4-BE49-F238E27FC236}">
                <a16:creationId xmlns:a16="http://schemas.microsoft.com/office/drawing/2014/main" id="{DB8C64F0-4266-8FBA-51C0-F656F8185D4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21">
            <a:extLst>
              <a:ext uri="{FF2B5EF4-FFF2-40B4-BE49-F238E27FC236}">
                <a16:creationId xmlns:a16="http://schemas.microsoft.com/office/drawing/2014/main" id="{40253EBE-983E-41E9-A11A-3FFEC68A708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391A67-DEE8-4B29-A9E7-50F0A79C91BF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1031089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verticaal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6"/>
          </p:nvPr>
        </p:nvSpPr>
        <p:spPr>
          <a:xfrm>
            <a:off x="635000" y="2289600"/>
            <a:ext cx="5003800" cy="39318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0" y="1051202"/>
            <a:ext cx="5003800" cy="948047"/>
          </a:xfrm>
        </p:spPr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24"/>
          </p:nvPr>
        </p:nvSpPr>
        <p:spPr>
          <a:xfrm>
            <a:off x="6096000" y="-2381"/>
            <a:ext cx="6096000" cy="6860381"/>
          </a:xfrm>
          <a:custGeom>
            <a:avLst/>
            <a:gdLst>
              <a:gd name="connsiteX0" fmla="*/ 229238 w 6096000"/>
              <a:gd name="connsiteY0" fmla="*/ 0 h 6860381"/>
              <a:gd name="connsiteX1" fmla="*/ 6091238 w 6096000"/>
              <a:gd name="connsiteY1" fmla="*/ 0 h 6860381"/>
              <a:gd name="connsiteX2" fmla="*/ 6091238 w 6096000"/>
              <a:gd name="connsiteY2" fmla="*/ 2381 h 6860381"/>
              <a:gd name="connsiteX3" fmla="*/ 6096000 w 6096000"/>
              <a:gd name="connsiteY3" fmla="*/ 2381 h 6860381"/>
              <a:gd name="connsiteX4" fmla="*/ 6096000 w 6096000"/>
              <a:gd name="connsiteY4" fmla="*/ 6860381 h 6860381"/>
              <a:gd name="connsiteX5" fmla="*/ 6095999 w 6096000"/>
              <a:gd name="connsiteY5" fmla="*/ 6860381 h 6860381"/>
              <a:gd name="connsiteX6" fmla="*/ 3832225 w 6096000"/>
              <a:gd name="connsiteY6" fmla="*/ 6860381 h 6860381"/>
              <a:gd name="connsiteX7" fmla="*/ 232201 w 6096000"/>
              <a:gd name="connsiteY7" fmla="*/ 6860381 h 6860381"/>
              <a:gd name="connsiteX8" fmla="*/ 232201 w 6096000"/>
              <a:gd name="connsiteY8" fmla="*/ 6626381 h 6860381"/>
              <a:gd name="connsiteX9" fmla="*/ 0 w 6096000"/>
              <a:gd name="connsiteY9" fmla="*/ 6626381 h 6860381"/>
              <a:gd name="connsiteX10" fmla="*/ 0 w 6096000"/>
              <a:gd name="connsiteY10" fmla="*/ 5488781 h 6860381"/>
              <a:gd name="connsiteX11" fmla="*/ 1 w 6096000"/>
              <a:gd name="connsiteY11" fmla="*/ 5488781 h 6860381"/>
              <a:gd name="connsiteX12" fmla="*/ 1 w 6096000"/>
              <a:gd name="connsiteY12" fmla="*/ 948531 h 6860381"/>
              <a:gd name="connsiteX13" fmla="*/ 1 w 6096000"/>
              <a:gd name="connsiteY13" fmla="*/ 711200 h 6860381"/>
              <a:gd name="connsiteX14" fmla="*/ 1 w 6096000"/>
              <a:gd name="connsiteY14" fmla="*/ 2381 h 6860381"/>
              <a:gd name="connsiteX15" fmla="*/ 2 w 6096000"/>
              <a:gd name="connsiteY15" fmla="*/ 2381 h 6860381"/>
              <a:gd name="connsiteX16" fmla="*/ 2 w 6096000"/>
              <a:gd name="connsiteY16" fmla="*/ 711994 h 6860381"/>
              <a:gd name="connsiteX17" fmla="*/ 233366 w 6096000"/>
              <a:gd name="connsiteY17" fmla="*/ 711994 h 6860381"/>
              <a:gd name="connsiteX18" fmla="*/ 233366 w 6096000"/>
              <a:gd name="connsiteY18" fmla="*/ 2381 h 6860381"/>
              <a:gd name="connsiteX19" fmla="*/ 229238 w 6096000"/>
              <a:gd name="connsiteY19" fmla="*/ 2381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0" h="6860381">
                <a:moveTo>
                  <a:pt x="229238" y="0"/>
                </a:moveTo>
                <a:lnTo>
                  <a:pt x="6091238" y="0"/>
                </a:lnTo>
                <a:lnTo>
                  <a:pt x="6091238" y="2381"/>
                </a:lnTo>
                <a:lnTo>
                  <a:pt x="6096000" y="2381"/>
                </a:lnTo>
                <a:lnTo>
                  <a:pt x="6096000" y="6860381"/>
                </a:lnTo>
                <a:lnTo>
                  <a:pt x="6095999" y="6860381"/>
                </a:lnTo>
                <a:lnTo>
                  <a:pt x="3832225" y="6860381"/>
                </a:lnTo>
                <a:lnTo>
                  <a:pt x="232201" y="6860381"/>
                </a:lnTo>
                <a:lnTo>
                  <a:pt x="232201" y="6626381"/>
                </a:lnTo>
                <a:lnTo>
                  <a:pt x="0" y="6626381"/>
                </a:lnTo>
                <a:lnTo>
                  <a:pt x="0" y="5488781"/>
                </a:lnTo>
                <a:lnTo>
                  <a:pt x="1" y="5488781"/>
                </a:lnTo>
                <a:lnTo>
                  <a:pt x="1" y="948531"/>
                </a:lnTo>
                <a:lnTo>
                  <a:pt x="1" y="711200"/>
                </a:lnTo>
                <a:lnTo>
                  <a:pt x="1" y="2381"/>
                </a:lnTo>
                <a:lnTo>
                  <a:pt x="2" y="2381"/>
                </a:lnTo>
                <a:lnTo>
                  <a:pt x="2" y="711994"/>
                </a:lnTo>
                <a:lnTo>
                  <a:pt x="233366" y="711994"/>
                </a:lnTo>
                <a:lnTo>
                  <a:pt x="233366" y="2381"/>
                </a:lnTo>
                <a:lnTo>
                  <a:pt x="229238" y="23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 anchorCtr="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3" name="Tijdelijke aanduiding voor datum 3">
            <a:extLst>
              <a:ext uri="{FF2B5EF4-FFF2-40B4-BE49-F238E27FC236}">
                <a16:creationId xmlns:a16="http://schemas.microsoft.com/office/drawing/2014/main" id="{2218F412-D7F0-99B4-C714-FA6DF1E87916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12D84D5B-2A8D-FD6B-4EB2-845F289021C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C93C6FEF-D336-035C-5501-67D734F1B1F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8DD88E-AEA5-4072-94B7-7A501CD7B417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99789055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horizontaa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37009695-6070-D084-4349-82C7CD4B695C}"/>
              </a:ext>
            </a:extLst>
          </p:cNvPr>
          <p:cNvSpPr/>
          <p:nvPr userDrawn="1"/>
        </p:nvSpPr>
        <p:spPr>
          <a:xfrm>
            <a:off x="0" y="0"/>
            <a:ext cx="12192000" cy="3427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857E93EB-F52B-7E41-6C1B-AF0D603753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1" y="1052514"/>
            <a:ext cx="10923588" cy="2374900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1" y="3749488"/>
            <a:ext cx="10923588" cy="2471925"/>
          </a:xfrm>
        </p:spPr>
        <p:txBody>
          <a:bodyPr numCol="2" spcCol="46800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7">
            <a:extLst>
              <a:ext uri="{FF2B5EF4-FFF2-40B4-BE49-F238E27FC236}">
                <a16:creationId xmlns:a16="http://schemas.microsoft.com/office/drawing/2014/main" id="{B953FEB4-2E95-25C7-E973-5BA5A90182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9">
            <a:extLst>
              <a:ext uri="{FF2B5EF4-FFF2-40B4-BE49-F238E27FC236}">
                <a16:creationId xmlns:a16="http://schemas.microsoft.com/office/drawing/2014/main" id="{016C9637-15FD-3523-304A-B537E2A2DFD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10">
            <a:extLst>
              <a:ext uri="{FF2B5EF4-FFF2-40B4-BE49-F238E27FC236}">
                <a16:creationId xmlns:a16="http://schemas.microsoft.com/office/drawing/2014/main" id="{C57D72D0-209E-D209-FE1E-E590DF1466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B3E5C5-804B-4D6D-B3FD-FE6C53697EA9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93952607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horizontaa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B92C3CE5-DE38-AB8D-DBDA-CEC76E00FF8D}"/>
              </a:ext>
            </a:extLst>
          </p:cNvPr>
          <p:cNvSpPr/>
          <p:nvPr userDrawn="1"/>
        </p:nvSpPr>
        <p:spPr>
          <a:xfrm>
            <a:off x="0" y="3430588"/>
            <a:ext cx="12192000" cy="34274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0C4D9BB1-66B5-EF17-E358-6DB650089B44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001" y="1052514"/>
            <a:ext cx="10923588" cy="2374900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35001" y="3749488"/>
            <a:ext cx="10923588" cy="2471925"/>
          </a:xfrm>
        </p:spPr>
        <p:txBody>
          <a:bodyPr numCol="2" spcCol="4680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7">
            <a:extLst>
              <a:ext uri="{FF2B5EF4-FFF2-40B4-BE49-F238E27FC236}">
                <a16:creationId xmlns:a16="http://schemas.microsoft.com/office/drawing/2014/main" id="{B8D1FD0B-442E-32D5-9944-6D79CF77E0D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voettekst 9">
            <a:extLst>
              <a:ext uri="{FF2B5EF4-FFF2-40B4-BE49-F238E27FC236}">
                <a16:creationId xmlns:a16="http://schemas.microsoft.com/office/drawing/2014/main" id="{EF80B796-AAEF-741B-9EF0-DA9044EDC3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10">
            <a:extLst>
              <a:ext uri="{FF2B5EF4-FFF2-40B4-BE49-F238E27FC236}">
                <a16:creationId xmlns:a16="http://schemas.microsoft.com/office/drawing/2014/main" id="{B8B694A4-ABAD-5D23-47BD-47648B31A0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59B134-E3F4-43C9-98B2-418A2B1ADF05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79670250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kle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lIns="720000" tIns="1152000">
            <a:noAutofit/>
          </a:bodyPr>
          <a:lstStyle>
            <a:lvl1pPr>
              <a:buClr>
                <a:schemeClr val="bg2"/>
              </a:buClr>
              <a:tabLst>
                <a:tab pos="1619210" algn="l"/>
              </a:tabLs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5" y="3888000"/>
            <a:ext cx="5004595" cy="2333413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ken om de titelstijl van het model te bewerken</a:t>
            </a:r>
          </a:p>
        </p:txBody>
      </p:sp>
      <p:sp>
        <p:nvSpPr>
          <p:cNvPr id="6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554588" y="3888000"/>
            <a:ext cx="5004000" cy="2333413"/>
          </a:xfrm>
        </p:spPr>
        <p:txBody>
          <a:bodyPr tIns="50400" numCol="1" spcCol="468000" anchor="t" anchorCtr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3" name="Tijdelijke aanduiding voor datum 9">
            <a:extLst>
              <a:ext uri="{FF2B5EF4-FFF2-40B4-BE49-F238E27FC236}">
                <a16:creationId xmlns:a16="http://schemas.microsoft.com/office/drawing/2014/main" id="{74FCAE75-DC28-48F6-BB09-1F4C26EA37D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10">
            <a:extLst>
              <a:ext uri="{FF2B5EF4-FFF2-40B4-BE49-F238E27FC236}">
                <a16:creationId xmlns:a16="http://schemas.microsoft.com/office/drawing/2014/main" id="{96AAB26E-C465-AA9D-40A4-8C2A140DAE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12">
            <a:extLst>
              <a:ext uri="{FF2B5EF4-FFF2-40B4-BE49-F238E27FC236}">
                <a16:creationId xmlns:a16="http://schemas.microsoft.com/office/drawing/2014/main" id="{58434EAB-D1A1-7B45-215E-50E47FDD78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48757C-DB2B-4939-925C-7EDD38D4E83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584991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horizontaal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427413"/>
          </a:xfrm>
          <a:custGeom>
            <a:avLst/>
            <a:gdLst>
              <a:gd name="connsiteX0" fmla="*/ 0 w 12192000"/>
              <a:gd name="connsiteY0" fmla="*/ 0 h 3427413"/>
              <a:gd name="connsiteX1" fmla="*/ 5862638 w 12192000"/>
              <a:gd name="connsiteY1" fmla="*/ 0 h 3427413"/>
              <a:gd name="connsiteX2" fmla="*/ 5862638 w 12192000"/>
              <a:gd name="connsiteY2" fmla="*/ 709613 h 3427413"/>
              <a:gd name="connsiteX3" fmla="*/ 6329363 w 12192000"/>
              <a:gd name="connsiteY3" fmla="*/ 709613 h 3427413"/>
              <a:gd name="connsiteX4" fmla="*/ 6329363 w 12192000"/>
              <a:gd name="connsiteY4" fmla="*/ 0 h 3427413"/>
              <a:gd name="connsiteX5" fmla="*/ 12192000 w 12192000"/>
              <a:gd name="connsiteY5" fmla="*/ 0 h 3427413"/>
              <a:gd name="connsiteX6" fmla="*/ 12192000 w 12192000"/>
              <a:gd name="connsiteY6" fmla="*/ 3427413 h 3427413"/>
              <a:gd name="connsiteX7" fmla="*/ 0 w 12192000"/>
              <a:gd name="connsiteY7" fmla="*/ 3427413 h 342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7413">
                <a:moveTo>
                  <a:pt x="0" y="0"/>
                </a:moveTo>
                <a:lnTo>
                  <a:pt x="5862638" y="0"/>
                </a:lnTo>
                <a:lnTo>
                  <a:pt x="5862638" y="709613"/>
                </a:lnTo>
                <a:lnTo>
                  <a:pt x="6329363" y="709613"/>
                </a:lnTo>
                <a:lnTo>
                  <a:pt x="6329363" y="0"/>
                </a:lnTo>
                <a:lnTo>
                  <a:pt x="12192000" y="0"/>
                </a:lnTo>
                <a:lnTo>
                  <a:pt x="12192000" y="3427413"/>
                </a:lnTo>
                <a:lnTo>
                  <a:pt x="0" y="3427413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</p:spPr>
        <p:txBody>
          <a:bodyPr wrap="square" lIns="720000" tIns="1152000">
            <a:noAutofit/>
          </a:bodyPr>
          <a:lstStyle/>
          <a:p>
            <a:pPr lvl="0"/>
            <a:r>
              <a:rPr lang="nl-NL" noProof="0"/>
              <a:t>Sleep de afbeelding naar de tijdelijke aanduiding of klik op het pictogram als u een afbeelding wilt toevoegen</a:t>
            </a:r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3"/>
          </p:nvPr>
        </p:nvSpPr>
        <p:spPr>
          <a:xfrm>
            <a:off x="6553199" y="3888000"/>
            <a:ext cx="5004000" cy="2333413"/>
          </a:xfrm>
        </p:spPr>
        <p:txBody>
          <a:bodyPr tIns="50400" numCol="1" spcCol="468000" anchor="t" anchorCtr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205" y="3888000"/>
            <a:ext cx="5004595" cy="2333413"/>
          </a:xfrm>
        </p:spPr>
        <p:txBody>
          <a:bodyPr anchor="t"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3" name="Tijdelijke aanduiding voor datum 3">
            <a:extLst>
              <a:ext uri="{FF2B5EF4-FFF2-40B4-BE49-F238E27FC236}">
                <a16:creationId xmlns:a16="http://schemas.microsoft.com/office/drawing/2014/main" id="{BE05774F-6CF1-8CC8-DCE9-DCF35B48B19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58730463-E123-5619-E1E5-7C00553519E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332B603C-5E30-E473-E2D1-D5DE38F8B6C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195B9-B19C-4F17-B916-643BF125D42C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6428624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42" Type="http://schemas.openxmlformats.org/officeDocument/2006/relationships/image" Target="../media/image11.emf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43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image" Target="../media/image1.png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jdelijke aanduiding voor titel 1">
            <a:extLst>
              <a:ext uri="{FF2B5EF4-FFF2-40B4-BE49-F238E27FC236}">
                <a16:creationId xmlns:a16="http://schemas.microsoft.com/office/drawing/2014/main" id="{A452ECEC-0B7A-26B1-9748-3B715F695A5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35000" y="1052513"/>
            <a:ext cx="10923588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/>
              <a:t>Klik om de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D45C9A7-54EC-8134-5EE0-889E03B29E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5000" y="2289175"/>
            <a:ext cx="10923588" cy="3932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  <a:p>
            <a:pPr lvl="8"/>
            <a:endParaRPr lang="nl-NL"/>
          </a:p>
        </p:txBody>
      </p:sp>
      <p:pic>
        <p:nvPicPr>
          <p:cNvPr id="1028" name="Afbeelding 11">
            <a:extLst>
              <a:ext uri="{FF2B5EF4-FFF2-40B4-BE49-F238E27FC236}">
                <a16:creationId xmlns:a16="http://schemas.microsoft.com/office/drawing/2014/main" id="{1E74E9A3-595E-2110-0993-6156F42F6692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hthoek 12">
            <a:extLst>
              <a:ext uri="{FF2B5EF4-FFF2-40B4-BE49-F238E27FC236}">
                <a16:creationId xmlns:a16="http://schemas.microsoft.com/office/drawing/2014/main" id="{67093897-8BE9-C8B3-A99E-B0A4313D889A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11" name="Tijdelijke aanduiding voor datum 3">
            <a:extLst>
              <a:ext uri="{FF2B5EF4-FFF2-40B4-BE49-F238E27FC236}">
                <a16:creationId xmlns:a16="http://schemas.microsoft.com/office/drawing/2014/main" id="{513D0DAF-761E-1735-2A16-D288B18CCE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5000" y="6543675"/>
            <a:ext cx="5003800" cy="263525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0664329C-CCFF-1A93-9EC3-4B7762B14F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000" y="6221413"/>
            <a:ext cx="5003800" cy="3222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B46448EB-0E2F-1E32-CC99-BAC686E4FB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221413"/>
            <a:ext cx="5005388" cy="322262"/>
          </a:xfrm>
          <a:prstGeom prst="rect">
            <a:avLst/>
          </a:prstGeom>
        </p:spPr>
        <p:txBody>
          <a:bodyPr vert="horz" wrap="square" lIns="91440" tIns="45720" rIns="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A6A6A6"/>
                </a:solidFill>
              </a:defRPr>
            </a:lvl1pPr>
          </a:lstStyle>
          <a:p>
            <a:pPr>
              <a:defRPr/>
            </a:pPr>
            <a:fld id="{DB08D0EF-6B67-49EA-ACF2-5E2BD7604378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B4F348AD-F709-D607-09FB-3358C2E505F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xmlns="" val="ftr"/>
              </p:ext>
            </p:extLst>
          </p:nvPr>
        </p:nvSpPr>
        <p:spPr>
          <a:xfrm>
            <a:off x="0" y="6705600"/>
            <a:ext cx="7604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nl-NL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 gebruik</a:t>
            </a:r>
          </a:p>
        </p:txBody>
      </p:sp>
    </p:spTree>
    <p:extLst>
      <p:ext uri="{BB962C8B-B14F-4D97-AF65-F5344CB8AC3E}">
        <p14:creationId xmlns:p14="http://schemas.microsoft.com/office/powerpoint/2010/main" val="3362200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</p:sldLayoutIdLst>
  <p:transition spd="slow"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9pPr>
    </p:titleStyle>
    <p:bodyStyle>
      <a:lvl1pPr marL="315913" indent="-315913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tx2"/>
        </a:buClr>
        <a:buSzPct val="80000"/>
        <a:buFont typeface="Verdana" panose="020B0604030504040204" pitchFamily="34" charset="0"/>
        <a:buChar char="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315913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chemeClr val="tx2"/>
        </a:buClr>
        <a:buFont typeface="Verdana" panose="020B060403050404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6150" indent="-315913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31591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76388" indent="-31591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Font typeface="Verdana" panose="020B060403050404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890000" indent="-3168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6pPr>
      <a:lvl7pPr marL="72000" indent="-72000" algn="l" defTabSz="914400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b="1" i="0" kern="1200">
          <a:solidFill>
            <a:schemeClr val="tx2"/>
          </a:solidFill>
          <a:latin typeface="+mn-lt"/>
          <a:ea typeface="+mn-ea"/>
          <a:cs typeface="+mn-cs"/>
        </a:defRPr>
      </a:lvl7pPr>
      <a:lvl8pPr marL="72000" indent="-72000" algn="l" defTabSz="914400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16000" indent="-1440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Verdana" panose="020B0604030504040204" pitchFamily="34" charset="0"/>
        <a:buChar char="–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3" hidden="1">
            <a:extLst>
              <a:ext uri="{FF2B5EF4-FFF2-40B4-BE49-F238E27FC236}">
                <a16:creationId xmlns:a16="http://schemas.microsoft.com/office/drawing/2014/main" id="{92CA96FF-97C5-CC5A-018F-5151D1C74E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1" imgW="360" imgH="360" progId="TCLayout.ActiveDocument.1">
                  <p:embed/>
                </p:oleObj>
              </mc:Choice>
              <mc:Fallback>
                <p:oleObj name="think-cell Slide" r:id="rId41" imgW="360" imgH="360" progId="TCLayout.ActiveDocument.1">
                  <p:embed/>
                  <p:pic>
                    <p:nvPicPr>
                      <p:cNvPr id="3074" name="Object 3" hidden="1">
                        <a:extLst>
                          <a:ext uri="{FF2B5EF4-FFF2-40B4-BE49-F238E27FC236}">
                            <a16:creationId xmlns:a16="http://schemas.microsoft.com/office/drawing/2014/main" id="{92CA96FF-97C5-CC5A-018F-5151D1C74E4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jdelijke aanduiding voor titel 1">
            <a:extLst>
              <a:ext uri="{FF2B5EF4-FFF2-40B4-BE49-F238E27FC236}">
                <a16:creationId xmlns:a16="http://schemas.microsoft.com/office/drawing/2014/main" id="{D14245DB-D601-EEE2-6A76-07F95F1B82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35000" y="1052513"/>
            <a:ext cx="10923588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/>
              <a:t>Klik om de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72F96A7-5671-5E9D-48A4-1BF9C748E9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5000" y="2289175"/>
            <a:ext cx="10923588" cy="3932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  <a:p>
            <a:pPr lvl="8"/>
            <a:endParaRPr lang="nl-NL"/>
          </a:p>
        </p:txBody>
      </p:sp>
      <p:pic>
        <p:nvPicPr>
          <p:cNvPr id="3077" name="Afbeelding 11">
            <a:extLst>
              <a:ext uri="{FF2B5EF4-FFF2-40B4-BE49-F238E27FC236}">
                <a16:creationId xmlns:a16="http://schemas.microsoft.com/office/drawing/2014/main" id="{B44FC73B-95CD-F239-35DA-36EC2C917282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hthoek 12">
            <a:extLst>
              <a:ext uri="{FF2B5EF4-FFF2-40B4-BE49-F238E27FC236}">
                <a16:creationId xmlns:a16="http://schemas.microsoft.com/office/drawing/2014/main" id="{01265E6F-D164-6B48-C9EC-70C824496743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11" name="Tijdelijke aanduiding voor datum 3">
            <a:extLst>
              <a:ext uri="{FF2B5EF4-FFF2-40B4-BE49-F238E27FC236}">
                <a16:creationId xmlns:a16="http://schemas.microsoft.com/office/drawing/2014/main" id="{575E7D54-138C-DFF2-5115-8BF0E5AC1F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5000" y="6543675"/>
            <a:ext cx="5003800" cy="263525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51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D4CB14CF-D914-B779-ADC3-DC0C03C9C4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000" y="6221413"/>
            <a:ext cx="5003800" cy="3222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51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AEC2B1E9-DC5F-66CB-4188-6C6349B00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221413"/>
            <a:ext cx="5005388" cy="322262"/>
          </a:xfrm>
          <a:prstGeom prst="rect">
            <a:avLst/>
          </a:prstGeom>
        </p:spPr>
        <p:txBody>
          <a:bodyPr vert="horz" wrap="square" lIns="91440" tIns="45720" rIns="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A6A6A6"/>
                </a:solidFill>
              </a:defRPr>
            </a:lvl1pPr>
          </a:lstStyle>
          <a:p>
            <a:pPr>
              <a:defRPr/>
            </a:pPr>
            <a:fld id="{B27CA5C0-773D-4B86-BD81-BF3C94C5BC9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030850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25" r:id="rId27"/>
    <p:sldLayoutId id="2147483726" r:id="rId28"/>
    <p:sldLayoutId id="2147483727" r:id="rId29"/>
    <p:sldLayoutId id="2147483728" r:id="rId30"/>
    <p:sldLayoutId id="2147483729" r:id="rId31"/>
    <p:sldLayoutId id="2147483730" r:id="rId32"/>
    <p:sldLayoutId id="2147483731" r:id="rId33"/>
    <p:sldLayoutId id="2147483732" r:id="rId34"/>
    <p:sldLayoutId id="2147483733" r:id="rId35"/>
    <p:sldLayoutId id="2147483734" r:id="rId36"/>
    <p:sldLayoutId id="2147483735" r:id="rId37"/>
  </p:sldLayoutIdLst>
  <p:transition spd="slow"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5pPr>
      <a:lvl6pPr marL="457189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6pPr>
      <a:lvl7pPr marL="914377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7pPr>
      <a:lvl8pPr marL="1371566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8pPr>
      <a:lvl9pPr marL="1828754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9pPr>
    </p:titleStyle>
    <p:bodyStyle>
      <a:lvl1pPr marL="314325" indent="-314325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tx2"/>
        </a:buClr>
        <a:buSzPct val="80000"/>
        <a:buFont typeface="Verdana" panose="020B0604030504040204" pitchFamily="34" charset="0"/>
        <a:buChar char="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314325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chemeClr val="tx2"/>
        </a:buClr>
        <a:buFont typeface="Verdana" panose="020B060403050404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4563" indent="-314325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31432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74800" indent="-31432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Font typeface="Verdana" panose="020B060403050404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889953" indent="-316792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6pPr>
      <a:lvl7pPr marL="71998" indent="-71998" algn="l" defTabSz="914377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b="1" i="0" kern="1200">
          <a:solidFill>
            <a:schemeClr val="tx2"/>
          </a:solidFill>
          <a:latin typeface="+mn-lt"/>
          <a:ea typeface="+mn-ea"/>
          <a:cs typeface="+mn-cs"/>
        </a:defRPr>
      </a:lvl7pPr>
      <a:lvl8pPr marL="71998" indent="-71998" algn="l" defTabSz="914377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15995" indent="-143996" algn="l" defTabSz="914377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Verdana" panose="020B0604030504040204" pitchFamily="34" charset="0"/>
        <a:buChar char="–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jdelijke aanduiding voor titel 1">
            <a:extLst>
              <a:ext uri="{FF2B5EF4-FFF2-40B4-BE49-F238E27FC236}">
                <a16:creationId xmlns:a16="http://schemas.microsoft.com/office/drawing/2014/main" id="{3A90EDE8-B9E1-CBBF-2C28-D9BCFCA7800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35000" y="1052513"/>
            <a:ext cx="10923588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/>
              <a:t>Klik om de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D31D130-8DE4-8971-AB7C-45C7E609CE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5000" y="2289175"/>
            <a:ext cx="10923588" cy="3932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  <a:p>
            <a:pPr lvl="8"/>
            <a:endParaRPr lang="nl-NL"/>
          </a:p>
        </p:txBody>
      </p:sp>
      <p:pic>
        <p:nvPicPr>
          <p:cNvPr id="5124" name="Afbeelding 11">
            <a:extLst>
              <a:ext uri="{FF2B5EF4-FFF2-40B4-BE49-F238E27FC236}">
                <a16:creationId xmlns:a16="http://schemas.microsoft.com/office/drawing/2014/main" id="{FF06618E-5FDF-8E7F-0B02-839FCB921CBF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1219835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hthoek 12">
            <a:extLst>
              <a:ext uri="{FF2B5EF4-FFF2-40B4-BE49-F238E27FC236}">
                <a16:creationId xmlns:a16="http://schemas.microsoft.com/office/drawing/2014/main" id="{FF89AE2D-E77A-30E9-00BF-66AA9B752F45}"/>
              </a:ext>
            </a:extLst>
          </p:cNvPr>
          <p:cNvSpPr>
            <a:spLocks/>
          </p:cNvSpPr>
          <p:nvPr userDrawn="1"/>
        </p:nvSpPr>
        <p:spPr>
          <a:xfrm>
            <a:off x="5862638" y="6619875"/>
            <a:ext cx="466725" cy="238125"/>
          </a:xfrm>
          <a:prstGeom prst="rect">
            <a:avLst/>
          </a:prstGeom>
          <a:solidFill>
            <a:srgbClr val="15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 sz="1351"/>
          </a:p>
        </p:txBody>
      </p:sp>
      <p:sp>
        <p:nvSpPr>
          <p:cNvPr id="11" name="Tijdelijke aanduiding voor datum 3">
            <a:extLst>
              <a:ext uri="{FF2B5EF4-FFF2-40B4-BE49-F238E27FC236}">
                <a16:creationId xmlns:a16="http://schemas.microsoft.com/office/drawing/2014/main" id="{A7F661C2-AF03-1F76-AC95-57516284DB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5000" y="6543675"/>
            <a:ext cx="5003800" cy="263525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51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285A4CF6-F5FC-2722-4FCB-BC76A8F3C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000" y="6221413"/>
            <a:ext cx="5003800" cy="3222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51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E2FF4FB5-D1B0-6960-154A-F6E13B6B9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221413"/>
            <a:ext cx="5005388" cy="322262"/>
          </a:xfrm>
          <a:prstGeom prst="rect">
            <a:avLst/>
          </a:prstGeom>
        </p:spPr>
        <p:txBody>
          <a:bodyPr vert="horz" wrap="square" lIns="91440" tIns="45720" rIns="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A6A6A6"/>
                </a:solidFill>
              </a:defRPr>
            </a:lvl1pPr>
          </a:lstStyle>
          <a:p>
            <a:pPr>
              <a:defRPr/>
            </a:pPr>
            <a:fld id="{ABC75470-D27A-4767-8598-7070C7D8A9D4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165371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  <p:sldLayoutId id="2147483757" r:id="rId21"/>
    <p:sldLayoutId id="2147483758" r:id="rId22"/>
    <p:sldLayoutId id="2147483759" r:id="rId23"/>
    <p:sldLayoutId id="2147483760" r:id="rId24"/>
    <p:sldLayoutId id="2147483761" r:id="rId25"/>
    <p:sldLayoutId id="2147483762" r:id="rId26"/>
    <p:sldLayoutId id="2147483763" r:id="rId27"/>
    <p:sldLayoutId id="2147483764" r:id="rId28"/>
    <p:sldLayoutId id="2147483765" r:id="rId29"/>
    <p:sldLayoutId id="2147483766" r:id="rId30"/>
    <p:sldLayoutId id="2147483767" r:id="rId31"/>
    <p:sldLayoutId id="2147483768" r:id="rId32"/>
    <p:sldLayoutId id="2147483769" r:id="rId33"/>
    <p:sldLayoutId id="2147483770" r:id="rId34"/>
    <p:sldLayoutId id="2147483771" r:id="rId35"/>
    <p:sldLayoutId id="2147483772" r:id="rId36"/>
    <p:sldLayoutId id="2147483773" r:id="rId37"/>
  </p:sldLayoutIdLst>
  <p:transition spd="slow"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5pPr>
      <a:lvl6pPr marL="457189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6pPr>
      <a:lvl7pPr marL="914377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7pPr>
      <a:lvl8pPr marL="1371566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8pPr>
      <a:lvl9pPr marL="1828754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Verdana" pitchFamily="34" charset="0"/>
        </a:defRPr>
      </a:lvl9pPr>
    </p:titleStyle>
    <p:bodyStyle>
      <a:lvl1pPr marL="314325" indent="-314325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chemeClr val="tx2"/>
        </a:buClr>
        <a:buSzPct val="80000"/>
        <a:buFont typeface="Verdana" panose="020B0604030504040204" pitchFamily="34" charset="0"/>
        <a:buChar char="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314325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chemeClr val="tx2"/>
        </a:buClr>
        <a:buFont typeface="Verdana" panose="020B060403050404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4563" indent="-314325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31432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74800" indent="-31432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Font typeface="Verdana" panose="020B060403050404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889953" indent="-316792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6pPr>
      <a:lvl7pPr marL="71998" indent="-71998" algn="l" defTabSz="914377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b="1" i="0" kern="1200">
          <a:solidFill>
            <a:schemeClr val="tx2"/>
          </a:solidFill>
          <a:latin typeface="+mn-lt"/>
          <a:ea typeface="+mn-ea"/>
          <a:cs typeface="+mn-cs"/>
        </a:defRPr>
      </a:lvl7pPr>
      <a:lvl8pPr marL="71998" indent="-71998" algn="l" defTabSz="914377" rtl="0" eaLnBrk="1" latinLnBrk="0" hangingPunct="1">
        <a:lnSpc>
          <a:spcPct val="90000"/>
        </a:lnSpc>
        <a:spcBef>
          <a:spcPts val="600"/>
        </a:spcBef>
        <a:buSzPct val="25000"/>
        <a:buFont typeface="Verdana" panose="020B0604030504040204" pitchFamily="34" charset="0"/>
        <a:buChar char=" 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15995" indent="-143996" algn="l" defTabSz="914377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Verdana" panose="020B0604030504040204" pitchFamily="34" charset="0"/>
        <a:buChar char="–"/>
        <a:defRPr sz="120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Titel 1">
            <a:extLst>
              <a:ext uri="{FF2B5EF4-FFF2-40B4-BE49-F238E27FC236}">
                <a16:creationId xmlns:a16="http://schemas.microsoft.com/office/drawing/2014/main" id="{4004C11D-DD7C-17A9-3860-0E10F89EC9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3591" y="1589747"/>
            <a:ext cx="5767276" cy="2115353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nl-NL" altLang="nl-NL" sz="4000" b="1">
                <a:latin typeface="RijksoverheidSansText" panose="020B0503040202060203" pitchFamily="34" charset="0"/>
              </a:rPr>
              <a:t>Energiewet – technische briefing </a:t>
            </a:r>
            <a:r>
              <a:rPr lang="nl-NL" altLang="nl-NL" b="1">
                <a:latin typeface="RijksoverheidSansText" panose="020B0503040202060203" pitchFamily="34" charset="0"/>
              </a:rPr>
              <a:t/>
            </a:r>
            <a:br>
              <a:rPr lang="nl-NL" altLang="nl-NL" b="1">
                <a:latin typeface="RijksoverheidSansText" panose="020B0503040202060203" pitchFamily="34" charset="0"/>
              </a:rPr>
            </a:br>
            <a:r>
              <a:rPr lang="nl-NL" altLang="nl-NL" b="1">
                <a:latin typeface="RijksoverheidSansText" panose="020B0503040202060203" pitchFamily="34" charset="0"/>
              </a:rPr>
              <a:t/>
            </a:r>
            <a:br>
              <a:rPr lang="nl-NL" altLang="nl-NL" b="1">
                <a:latin typeface="RijksoverheidSansText" panose="020B0503040202060203" pitchFamily="34" charset="0"/>
              </a:rPr>
            </a:br>
            <a:r>
              <a:rPr lang="nl-NL" altLang="nl-NL" sz="2200" b="1" i="1">
                <a:latin typeface="RijksoverheidSansText" panose="020B0503040202060203" pitchFamily="34" charset="0"/>
              </a:rPr>
              <a:t>Commissie Economische Zaken &amp; Klimaat</a:t>
            </a:r>
            <a:br>
              <a:rPr lang="nl-NL" altLang="nl-NL" sz="2200" b="1" i="1">
                <a:latin typeface="RijksoverheidSansText" panose="020B0503040202060203" pitchFamily="34" charset="0"/>
              </a:rPr>
            </a:br>
            <a:r>
              <a:rPr lang="nl-NL" altLang="nl-NL" sz="2200" b="1" i="1">
                <a:latin typeface="RijksoverheidSansText" panose="020B0503040202060203" pitchFamily="34" charset="0"/>
              </a:rPr>
              <a:t>21 maart 2024 </a:t>
            </a:r>
          </a:p>
        </p:txBody>
      </p:sp>
    </p:spTree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30" name="Tijdelijke aanduiding voor dianummer 3">
            <a:extLst>
              <a:ext uri="{FF2B5EF4-FFF2-40B4-BE49-F238E27FC236}">
                <a16:creationId xmlns:a16="http://schemas.microsoft.com/office/drawing/2014/main" id="{460FC4C1-E249-B9D5-BC88-4FD18A9A9FE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10639789" y="6221413"/>
            <a:ext cx="365125" cy="3222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11948-3432-4695-ACDA-2F1807572F7D}" type="slidenum">
              <a:rPr kumimoji="0" lang="nl-NL" altLang="nl-NL" sz="10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altLang="nl-NL" sz="1000" b="0" i="0" u="none" strike="noStrike" kern="1200" cap="none" spc="0" normalizeH="0" baseline="0" noProof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Rechthoek 24">
            <a:extLst>
              <a:ext uri="{FF2B5EF4-FFF2-40B4-BE49-F238E27FC236}">
                <a16:creationId xmlns:a16="http://schemas.microsoft.com/office/drawing/2014/main" id="{E742B4B0-E6B2-ADD8-2FAB-D8320E116A8B}"/>
              </a:ext>
            </a:extLst>
          </p:cNvPr>
          <p:cNvSpPr/>
          <p:nvPr/>
        </p:nvSpPr>
        <p:spPr>
          <a:xfrm>
            <a:off x="1835514" y="3020719"/>
            <a:ext cx="2441575" cy="815962"/>
          </a:xfrm>
          <a:prstGeom prst="rect">
            <a:avLst/>
          </a:prstGeom>
          <a:solidFill>
            <a:srgbClr val="44546A">
              <a:lumMod val="20000"/>
              <a:lumOff val="8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l-NL" sz="375" kern="0">
              <a:solidFill>
                <a:prstClr val="white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l-NL" sz="1050" b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chnische voorschriften 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isen aan meetinrichtingen 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isen aan metingen </a:t>
            </a: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l-NL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hthoek 25">
            <a:extLst>
              <a:ext uri="{FF2B5EF4-FFF2-40B4-BE49-F238E27FC236}">
                <a16:creationId xmlns:a16="http://schemas.microsoft.com/office/drawing/2014/main" id="{7E7E8ADF-496F-EF4B-0DDB-BD5942AE8753}"/>
              </a:ext>
            </a:extLst>
          </p:cNvPr>
          <p:cNvSpPr/>
          <p:nvPr/>
        </p:nvSpPr>
        <p:spPr>
          <a:xfrm>
            <a:off x="7206091" y="2015061"/>
            <a:ext cx="3046413" cy="2905125"/>
          </a:xfrm>
          <a:prstGeom prst="rect">
            <a:avLst/>
          </a:prstGeom>
          <a:solidFill>
            <a:srgbClr val="44546A">
              <a:lumMod val="20000"/>
              <a:lumOff val="8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rganisatorische eisen TSB’s/DSB’s</a:t>
            </a: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anwijzing door Minister, inrichtingseisen, regels rondom (publiek) eigendom </a:t>
            </a:r>
            <a:endParaRPr lang="nl-NL" sz="1050" i="1" kern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l-NL" sz="5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itvoering (publieke) wettelijke taken TSB’s/DSB’s:  </a:t>
            </a:r>
            <a:r>
              <a:rPr kumimoji="0" lang="nl-NL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Beheren en ontwikkelen systemen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ansluiten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ransporteren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eten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Leveringszekerheid (o.a. extreme kou)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Beheerders van bijzondere systemen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et op zee, interconnectoren, etc. </a:t>
            </a:r>
            <a:endParaRPr kumimoji="0" lang="nl-NL" sz="500" b="0" i="1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l-NL" sz="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arieven, methoden &amp; voorwaarden (‘codes’)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eneriek i.v.m. exclusieve bevoegdheden ACM</a:t>
            </a:r>
            <a:endParaRPr kumimoji="0" lang="nl-NL" sz="500" b="0" i="1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l-NL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l-NL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l-NL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l-NL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l-NL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l-NL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l-NL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Rechthoek: afgeronde hoeken 26">
            <a:extLst>
              <a:ext uri="{FF2B5EF4-FFF2-40B4-BE49-F238E27FC236}">
                <a16:creationId xmlns:a16="http://schemas.microsoft.com/office/drawing/2014/main" id="{B3210345-60A2-91B2-21BF-8167484DCB05}"/>
              </a:ext>
            </a:extLst>
          </p:cNvPr>
          <p:cNvSpPr/>
          <p:nvPr/>
        </p:nvSpPr>
        <p:spPr>
          <a:xfrm>
            <a:off x="7206091" y="1903936"/>
            <a:ext cx="2982913" cy="315913"/>
          </a:xfrm>
          <a:prstGeom prst="roundRect">
            <a:avLst/>
          </a:prstGeom>
          <a:solidFill>
            <a:srgbClr val="203864"/>
          </a:solidFill>
          <a:ln w="12700" cap="flat" cmpd="sng" algn="ctr">
            <a:solidFill>
              <a:srgbClr val="20386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Beheer van systemen (H3)</a:t>
            </a:r>
          </a:p>
        </p:txBody>
      </p:sp>
      <p:pic>
        <p:nvPicPr>
          <p:cNvPr id="150534" name="Afbeelding 26">
            <a:extLst>
              <a:ext uri="{FF2B5EF4-FFF2-40B4-BE49-F238E27FC236}">
                <a16:creationId xmlns:a16="http://schemas.microsoft.com/office/drawing/2014/main" id="{0FC7E445-5023-A5DC-966D-A15A50EC4C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4041" y="1821386"/>
            <a:ext cx="47942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hthoek 28">
            <a:extLst>
              <a:ext uri="{FF2B5EF4-FFF2-40B4-BE49-F238E27FC236}">
                <a16:creationId xmlns:a16="http://schemas.microsoft.com/office/drawing/2014/main" id="{A22F3F3A-38F5-2E82-9B31-6D3846724183}"/>
              </a:ext>
            </a:extLst>
          </p:cNvPr>
          <p:cNvSpPr/>
          <p:nvPr/>
        </p:nvSpPr>
        <p:spPr>
          <a:xfrm>
            <a:off x="1825989" y="2020889"/>
            <a:ext cx="2441575" cy="736398"/>
          </a:xfrm>
          <a:prstGeom prst="rect">
            <a:avLst/>
          </a:prstGeom>
          <a:solidFill>
            <a:srgbClr val="44546A">
              <a:lumMod val="20000"/>
              <a:lumOff val="8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80" b="0" i="1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50" b="1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enerieke kaders 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Begrippenkader en scope 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l-NL" sz="38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Rechthoek: afgeronde hoeken 29">
            <a:extLst>
              <a:ext uri="{FF2B5EF4-FFF2-40B4-BE49-F238E27FC236}">
                <a16:creationId xmlns:a16="http://schemas.microsoft.com/office/drawing/2014/main" id="{C1B41D05-9E22-9D29-2285-BFF815C222BA}"/>
              </a:ext>
            </a:extLst>
          </p:cNvPr>
          <p:cNvSpPr/>
          <p:nvPr/>
        </p:nvSpPr>
        <p:spPr>
          <a:xfrm>
            <a:off x="1825989" y="1908175"/>
            <a:ext cx="2441575" cy="315913"/>
          </a:xfrm>
          <a:prstGeom prst="roundRect">
            <a:avLst/>
          </a:prstGeom>
          <a:solidFill>
            <a:srgbClr val="4472C4">
              <a:lumMod val="50000"/>
            </a:srgbClr>
          </a:solidFill>
          <a:ln w="1270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Begrippen (H1) </a:t>
            </a:r>
          </a:p>
        </p:txBody>
      </p:sp>
      <p:sp>
        <p:nvSpPr>
          <p:cNvPr id="33" name="Rechthoek 32">
            <a:extLst>
              <a:ext uri="{FF2B5EF4-FFF2-40B4-BE49-F238E27FC236}">
                <a16:creationId xmlns:a16="http://schemas.microsoft.com/office/drawing/2014/main" id="{476EB860-A8D6-78AF-CAC5-4C9CA49B7024}"/>
              </a:ext>
            </a:extLst>
          </p:cNvPr>
          <p:cNvSpPr/>
          <p:nvPr/>
        </p:nvSpPr>
        <p:spPr>
          <a:xfrm>
            <a:off x="4494309" y="2014538"/>
            <a:ext cx="2524125" cy="2909887"/>
          </a:xfrm>
          <a:prstGeom prst="rect">
            <a:avLst/>
          </a:prstGeom>
          <a:solidFill>
            <a:srgbClr val="44546A">
              <a:lumMod val="20000"/>
              <a:lumOff val="8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oorschriften inzake levering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chten eindafnemers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ontractuele voorschriften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actureren + informeren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Klachten en geschillen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verstappen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ergunningsregime (kleine aansluitingen)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ergunningseisen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oorschriften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verige voorschriften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nl-NL" sz="1050" i="1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nbedding nieuwe actoren (actieve afnemer, energiegemeenschap, aggregator / vraagrespons</a:t>
            </a: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)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eetinrichtingen en metingen </a:t>
            </a: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l-NL" sz="1050" b="0" i="1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l-NL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Rechthoek: afgeronde hoeken 33">
            <a:extLst>
              <a:ext uri="{FF2B5EF4-FFF2-40B4-BE49-F238E27FC236}">
                <a16:creationId xmlns:a16="http://schemas.microsoft.com/office/drawing/2014/main" id="{EA8F8BE3-BACA-67F8-3771-0BF3E0964391}"/>
              </a:ext>
            </a:extLst>
          </p:cNvPr>
          <p:cNvSpPr/>
          <p:nvPr/>
        </p:nvSpPr>
        <p:spPr>
          <a:xfrm>
            <a:off x="4494310" y="1908175"/>
            <a:ext cx="2439988" cy="315913"/>
          </a:xfrm>
          <a:prstGeom prst="roundRect">
            <a:avLst/>
          </a:prstGeom>
          <a:solidFill>
            <a:srgbClr val="4472C4">
              <a:lumMod val="50000"/>
            </a:srgbClr>
          </a:solidFill>
          <a:ln w="1270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nergiemarkten (H2)</a:t>
            </a:r>
          </a:p>
        </p:txBody>
      </p:sp>
      <p:pic>
        <p:nvPicPr>
          <p:cNvPr id="150539" name="Afbeelding 33">
            <a:extLst>
              <a:ext uri="{FF2B5EF4-FFF2-40B4-BE49-F238E27FC236}">
                <a16:creationId xmlns:a16="http://schemas.microsoft.com/office/drawing/2014/main" id="{0EBAFB58-55D1-DD93-473B-9EC5F85D31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344" y="1825625"/>
            <a:ext cx="47942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0540" name="Afbeelding 34">
            <a:extLst>
              <a:ext uri="{FF2B5EF4-FFF2-40B4-BE49-F238E27FC236}">
                <a16:creationId xmlns:a16="http://schemas.microsoft.com/office/drawing/2014/main" id="{D0E6C5FF-BB29-A9F2-0DB7-9A67A7A57D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1616" y="1821386"/>
            <a:ext cx="47942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0541" name="Afbeelding 35">
            <a:extLst>
              <a:ext uri="{FF2B5EF4-FFF2-40B4-BE49-F238E27FC236}">
                <a16:creationId xmlns:a16="http://schemas.microsoft.com/office/drawing/2014/main" id="{9F90481A-4499-3EEE-2A26-B1C49B502D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915" y="1830388"/>
            <a:ext cx="47942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chthoek: afgeronde hoeken 37">
            <a:extLst>
              <a:ext uri="{FF2B5EF4-FFF2-40B4-BE49-F238E27FC236}">
                <a16:creationId xmlns:a16="http://schemas.microsoft.com/office/drawing/2014/main" id="{673C1400-1C12-C1B7-BF5D-1BB1E152C742}"/>
              </a:ext>
            </a:extLst>
          </p:cNvPr>
          <p:cNvSpPr/>
          <p:nvPr/>
        </p:nvSpPr>
        <p:spPr>
          <a:xfrm>
            <a:off x="1835514" y="2861968"/>
            <a:ext cx="2441575" cy="315912"/>
          </a:xfrm>
          <a:prstGeom prst="roundRect">
            <a:avLst/>
          </a:prstGeom>
          <a:solidFill>
            <a:srgbClr val="4472C4">
              <a:lumMod val="50000"/>
            </a:srgbClr>
          </a:solidFill>
          <a:ln w="1270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etingen (H2-3)</a:t>
            </a:r>
          </a:p>
        </p:txBody>
      </p:sp>
      <p:pic>
        <p:nvPicPr>
          <p:cNvPr id="150543" name="Afbeelding 37">
            <a:extLst>
              <a:ext uri="{FF2B5EF4-FFF2-40B4-BE49-F238E27FC236}">
                <a16:creationId xmlns:a16="http://schemas.microsoft.com/office/drawing/2014/main" id="{F7E290AF-3F16-7AB7-AF17-9BB23D016E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464" y="2779418"/>
            <a:ext cx="47942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Rechthoek 39">
            <a:extLst>
              <a:ext uri="{FF2B5EF4-FFF2-40B4-BE49-F238E27FC236}">
                <a16:creationId xmlns:a16="http://schemas.microsoft.com/office/drawing/2014/main" id="{2B887A40-2F79-A024-19F4-3092F52C4239}"/>
              </a:ext>
            </a:extLst>
          </p:cNvPr>
          <p:cNvSpPr/>
          <p:nvPr/>
        </p:nvSpPr>
        <p:spPr>
          <a:xfrm>
            <a:off x="1835514" y="6242050"/>
            <a:ext cx="8372475" cy="31591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oezicht (H5): </a:t>
            </a:r>
            <a:r>
              <a:rPr kumimoji="0" lang="nl-NL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imair ACM, op onderdelen Agentschap Telecom (cyber) en SodM (veiligheid gas)</a:t>
            </a:r>
            <a:endParaRPr kumimoji="0" lang="nl-NL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0549" name="Titel 2">
            <a:extLst>
              <a:ext uri="{FF2B5EF4-FFF2-40B4-BE49-F238E27FC236}">
                <a16:creationId xmlns:a16="http://schemas.microsoft.com/office/drawing/2014/main" id="{FF981885-3EDF-7840-1E6A-2867D3379A7C}"/>
              </a:ext>
            </a:extLst>
          </p:cNvPr>
          <p:cNvSpPr txBox="1">
            <a:spLocks/>
          </p:cNvSpPr>
          <p:nvPr/>
        </p:nvSpPr>
        <p:spPr bwMode="auto">
          <a:xfrm>
            <a:off x="503238" y="601663"/>
            <a:ext cx="9589430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b"/>
          <a:lstStyle>
            <a:lvl1pPr defTabSz="912813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628650" indent="-315913" defTabSz="912813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946150" indent="-315913" defTabSz="912813">
              <a:lnSpc>
                <a:spcPct val="90000"/>
              </a:lnSpc>
              <a:spcBef>
                <a:spcPts val="8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58888" indent="-315913" defTabSz="912813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76388" indent="-315913" defTabSz="912813">
              <a:lnSpc>
                <a:spcPct val="9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5pPr>
            <a:lvl6pPr marL="20335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6pPr>
            <a:lvl7pPr marL="24907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7pPr>
            <a:lvl8pPr marL="29479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8pPr>
            <a:lvl9pPr marL="34051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kumimoji="0" lang="nl-NL" altLang="nl-NL" sz="3600" b="1" i="0" u="none" strike="noStrike" kern="1200" cap="none" spc="0" normalizeH="0" baseline="0" noProof="0" dirty="0">
                <a:ln>
                  <a:noFill/>
                </a:ln>
                <a:solidFill>
                  <a:srgbClr val="154273"/>
                </a:solidFill>
                <a:effectLst/>
                <a:uLnTx/>
                <a:uFillTx/>
                <a:latin typeface="RijksoverheidSansText"/>
                <a:cs typeface="Arial"/>
              </a:rPr>
              <a:t>Energiewet | </a:t>
            </a:r>
            <a:r>
              <a:rPr lang="nl-NL" altLang="nl-NL" sz="3600" b="1" dirty="0">
                <a:solidFill>
                  <a:srgbClr val="154273"/>
                </a:solidFill>
                <a:latin typeface="RijksoverheidSansText"/>
                <a:cs typeface="Arial"/>
              </a:rPr>
              <a:t>inhoud en structuur</a:t>
            </a:r>
            <a:endParaRPr kumimoji="0" lang="nl-NL" altLang="nl-NL" sz="3600" b="1" i="0" u="none" strike="noStrike" kern="1200" cap="none" spc="0" normalizeH="0" baseline="0" noProof="0" dirty="0">
              <a:ln>
                <a:noFill/>
              </a:ln>
              <a:solidFill>
                <a:srgbClr val="154273"/>
              </a:solidFill>
              <a:effectLst/>
              <a:uLnTx/>
              <a:uFillTx/>
              <a:latin typeface="RijksoverheidSansText" panose="020B050304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10577593-6E8F-A96D-3FDE-78F40BC3F3E3}"/>
              </a:ext>
            </a:extLst>
          </p:cNvPr>
          <p:cNvSpPr/>
          <p:nvPr/>
        </p:nvSpPr>
        <p:spPr>
          <a:xfrm>
            <a:off x="1803764" y="5246688"/>
            <a:ext cx="8494711" cy="719137"/>
          </a:xfrm>
          <a:prstGeom prst="rect">
            <a:avLst/>
          </a:prstGeom>
          <a:solidFill>
            <a:srgbClr val="44546A">
              <a:lumMod val="20000"/>
              <a:lumOff val="8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aak TSB’s/DSB’s: toegang en uitwisseling gegevens in systeem &gt;&gt; oprichting ‘gegevensuitwisselingsentiteit’ (GUE)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ormenkader: grondslagen, gestandaardiseerd, beveiligd, goede identificatie, toegankelijk en eenvoudig etc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l-NL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Rechthoek: afgeronde hoeken 3">
            <a:extLst>
              <a:ext uri="{FF2B5EF4-FFF2-40B4-BE49-F238E27FC236}">
                <a16:creationId xmlns:a16="http://schemas.microsoft.com/office/drawing/2014/main" id="{0C0A430E-BB03-1F20-D3E8-5482A51E0588}"/>
              </a:ext>
            </a:extLst>
          </p:cNvPr>
          <p:cNvSpPr/>
          <p:nvPr/>
        </p:nvSpPr>
        <p:spPr>
          <a:xfrm>
            <a:off x="1803764" y="5087938"/>
            <a:ext cx="8410575" cy="315912"/>
          </a:xfrm>
          <a:prstGeom prst="roundRect">
            <a:avLst/>
          </a:prstGeom>
          <a:solidFill>
            <a:srgbClr val="4472C4">
              <a:lumMod val="50000"/>
            </a:srgbClr>
          </a:solidFill>
          <a:ln w="1270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atabeheer &amp; - uitwisseling (H4)</a:t>
            </a:r>
          </a:p>
        </p:txBody>
      </p:sp>
      <p:pic>
        <p:nvPicPr>
          <p:cNvPr id="150552" name="Afbeelding 10">
            <a:extLst>
              <a:ext uri="{FF2B5EF4-FFF2-40B4-BE49-F238E27FC236}">
                <a16:creationId xmlns:a16="http://schemas.microsoft.com/office/drawing/2014/main" id="{6626F749-55F7-A817-4BC7-15DB565EC8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3826" y="5010150"/>
            <a:ext cx="460375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D09772EE-BEF7-AE7F-52A9-6C7C4BC674EE}"/>
              </a:ext>
            </a:extLst>
          </p:cNvPr>
          <p:cNvSpPr/>
          <p:nvPr/>
        </p:nvSpPr>
        <p:spPr>
          <a:xfrm>
            <a:off x="1557701" y="1754188"/>
            <a:ext cx="8909050" cy="4789487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75000"/>
              </a:sysClr>
            </a:solidFill>
            <a:prstDash val="dash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EB26D1B2-D7D5-D22F-ECBD-14036095F3B8}"/>
              </a:ext>
            </a:extLst>
          </p:cNvPr>
          <p:cNvSpPr/>
          <p:nvPr/>
        </p:nvSpPr>
        <p:spPr>
          <a:xfrm>
            <a:off x="1557701" y="6129542"/>
            <a:ext cx="8909050" cy="410958"/>
          </a:xfrm>
          <a:prstGeom prst="rect">
            <a:avLst/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oezicht (H5): </a:t>
            </a:r>
            <a:r>
              <a:rPr kumimoji="0" lang="nl-NL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imair ACM; op onderdelen de Rijksinspectie Digitale Infrastructuur (cyber) of SodM (veiligheid gas)</a:t>
            </a:r>
            <a:endParaRPr kumimoji="0" lang="nl-NL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0559" name="Afbeelding 66560">
            <a:extLst>
              <a:ext uri="{FF2B5EF4-FFF2-40B4-BE49-F238E27FC236}">
                <a16:creationId xmlns:a16="http://schemas.microsoft.com/office/drawing/2014/main" id="{910F79D7-618D-EDD6-6E93-2DB71A9E31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6564" y="6106910"/>
            <a:ext cx="46037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Afbeelding 30">
            <a:extLst>
              <a:ext uri="{FF2B5EF4-FFF2-40B4-BE49-F238E27FC236}">
                <a16:creationId xmlns:a16="http://schemas.microsoft.com/office/drawing/2014/main" id="{4263830E-93B0-5890-6B57-AAF08E3C90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2411" y="1830406"/>
            <a:ext cx="47942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E6434D07-1021-3DE8-EAD0-F35A978B3672}"/>
              </a:ext>
            </a:extLst>
          </p:cNvPr>
          <p:cNvSpPr/>
          <p:nvPr/>
        </p:nvSpPr>
        <p:spPr>
          <a:xfrm>
            <a:off x="1818161" y="4112432"/>
            <a:ext cx="2441575" cy="815962"/>
          </a:xfrm>
          <a:prstGeom prst="rect">
            <a:avLst/>
          </a:prstGeom>
          <a:solidFill>
            <a:srgbClr val="44546A">
              <a:lumMod val="20000"/>
              <a:lumOff val="8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l-NL" sz="375" kern="0">
              <a:solidFill>
                <a:prstClr val="white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l-NL" sz="105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verige bepalingen, overgangsrecht en slotbepalingen </a:t>
            </a: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l-NL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hthoek: afgeronde hoeken 6">
            <a:extLst>
              <a:ext uri="{FF2B5EF4-FFF2-40B4-BE49-F238E27FC236}">
                <a16:creationId xmlns:a16="http://schemas.microsoft.com/office/drawing/2014/main" id="{CC7DF511-28A6-2AF9-FE0A-7B250136CF66}"/>
              </a:ext>
            </a:extLst>
          </p:cNvPr>
          <p:cNvSpPr/>
          <p:nvPr/>
        </p:nvSpPr>
        <p:spPr>
          <a:xfrm>
            <a:off x="1818161" y="3953681"/>
            <a:ext cx="2441575" cy="315912"/>
          </a:xfrm>
          <a:prstGeom prst="roundRect">
            <a:avLst/>
          </a:prstGeom>
          <a:solidFill>
            <a:srgbClr val="4472C4">
              <a:lumMod val="50000"/>
            </a:srgbClr>
          </a:solidFill>
          <a:ln w="1270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ivers (H6-7)</a:t>
            </a:r>
          </a:p>
        </p:txBody>
      </p:sp>
      <p:pic>
        <p:nvPicPr>
          <p:cNvPr id="18" name="Afbeelding 29">
            <a:extLst>
              <a:ext uri="{FF2B5EF4-FFF2-40B4-BE49-F238E27FC236}">
                <a16:creationId xmlns:a16="http://schemas.microsoft.com/office/drawing/2014/main" id="{AC1F36EB-C98C-F9F7-D6E7-4551DCCD30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7825" y="3897691"/>
            <a:ext cx="47942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Titel 2">
            <a:extLst>
              <a:ext uri="{FF2B5EF4-FFF2-40B4-BE49-F238E27FC236}">
                <a16:creationId xmlns:a16="http://schemas.microsoft.com/office/drawing/2014/main" id="{3F87242E-9F96-292F-1620-D3FCF05AB6B7}"/>
              </a:ext>
            </a:extLst>
          </p:cNvPr>
          <p:cNvSpPr txBox="1">
            <a:spLocks/>
          </p:cNvSpPr>
          <p:nvPr/>
        </p:nvSpPr>
        <p:spPr bwMode="auto">
          <a:xfrm>
            <a:off x="503238" y="601663"/>
            <a:ext cx="8488362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628650" indent="-315913" defTabSz="912813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946150" indent="-315913" defTabSz="912813">
              <a:lnSpc>
                <a:spcPct val="90000"/>
              </a:lnSpc>
              <a:spcBef>
                <a:spcPts val="8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58888" indent="-315913" defTabSz="912813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76388" indent="-315913" defTabSz="912813">
              <a:lnSpc>
                <a:spcPct val="9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5pPr>
            <a:lvl6pPr marL="20335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6pPr>
            <a:lvl7pPr marL="24907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7pPr>
            <a:lvl8pPr marL="29479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8pPr>
            <a:lvl9pPr marL="34051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nl-NL" altLang="nl-NL" sz="3600" b="1" i="0" u="none" strike="noStrike" kern="1200" cap="none" spc="0" normalizeH="0" baseline="0" noProof="0" dirty="0">
                <a:ln>
                  <a:noFill/>
                </a:ln>
                <a:solidFill>
                  <a:srgbClr val="154273"/>
                </a:solidFill>
                <a:effectLst/>
                <a:uLnTx/>
                <a:uFillTx/>
                <a:latin typeface="RijksoverheidSansText" panose="020B0503040202060203" pitchFamily="34" charset="0"/>
                <a:ea typeface="+mn-ea"/>
                <a:cs typeface="Arial" panose="020B0604020202020204" pitchFamily="34" charset="0"/>
              </a:rPr>
              <a:t>Energiewet | rationale (1)    </a:t>
            </a:r>
          </a:p>
        </p:txBody>
      </p:sp>
      <p:sp>
        <p:nvSpPr>
          <p:cNvPr id="3" name="Tijdelijke aanduiding voor inhoud 1">
            <a:extLst>
              <a:ext uri="{FF2B5EF4-FFF2-40B4-BE49-F238E27FC236}">
                <a16:creationId xmlns:a16="http://schemas.microsoft.com/office/drawing/2014/main" id="{B3E87084-B838-B545-DFF7-993312C29A36}"/>
              </a:ext>
            </a:extLst>
          </p:cNvPr>
          <p:cNvSpPr txBox="1">
            <a:spLocks/>
          </p:cNvSpPr>
          <p:nvPr/>
        </p:nvSpPr>
        <p:spPr>
          <a:xfrm>
            <a:off x="503237" y="1680595"/>
            <a:ext cx="5494891" cy="4678005"/>
          </a:xfrm>
          <a:prstGeom prst="rect">
            <a:avLst/>
          </a:prstGeom>
        </p:spPr>
        <p:txBody>
          <a:bodyPr lIns="91440" tIns="45720" rIns="91440" bIns="45720" spcCol="468000" anchor="t">
            <a:no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None/>
              <a:defRPr/>
            </a:pPr>
            <a:r>
              <a:rPr lang="nl-NL" sz="1600" b="1" dirty="0">
                <a:ea typeface="Verdana"/>
              </a:rPr>
              <a:t>Doelen van de wet</a:t>
            </a:r>
          </a:p>
          <a:p>
            <a:pPr marL="315595" indent="-315595" defTabSz="914377">
              <a:buFont typeface="Wingdings" panose="05000000000000000000" pitchFamily="2" charset="2"/>
              <a:buChar char="ü"/>
              <a:defRPr/>
            </a:pPr>
            <a:r>
              <a:rPr lang="nl-NL" sz="1600" dirty="0"/>
              <a:t>Hoofddoel: </a:t>
            </a:r>
            <a:endParaRPr lang="en-US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stevig wettelijk fundament </a:t>
            </a:r>
            <a:endParaRPr lang="en-US" sz="1600" dirty="0"/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voor energietransitie en </a:t>
            </a:r>
            <a:endParaRPr lang="en-US" sz="1600" dirty="0"/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Voor een veilige, betrouwbare en betaalbare energievoorziening  </a:t>
            </a:r>
            <a:endParaRPr lang="en-US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endParaRPr lang="nl-NL" sz="16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r>
              <a:rPr lang="nl-NL" sz="1600" dirty="0">
                <a:ea typeface="Verdana"/>
              </a:rPr>
              <a:t>Subdoelen:</a:t>
            </a:r>
            <a:endParaRPr lang="nl-NL" sz="1600" dirty="0"/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Noodzakelijk ‘groot onderhoud’ </a:t>
            </a:r>
            <a:endParaRPr lang="nl-NL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Implementatie </a:t>
            </a: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basis voor opvolgende wetstrajecten inclusief implementatie nieuwe Europese regelgeving</a:t>
            </a:r>
            <a:endParaRPr lang="nl-NL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endParaRPr lang="nl-NL" sz="16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endParaRPr lang="nl-NL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endParaRPr lang="nl-NL" sz="18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5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endParaRPr lang="nl-NL" sz="500" dirty="0">
              <a:ea typeface="Verdana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095AF08E-CEDC-3143-5212-95D5F60E6B86}"/>
              </a:ext>
            </a:extLst>
          </p:cNvPr>
          <p:cNvSpPr/>
          <p:nvPr/>
        </p:nvSpPr>
        <p:spPr>
          <a:xfrm>
            <a:off x="7519713" y="6365590"/>
            <a:ext cx="932710" cy="3376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08FF22C-1427-C11D-5429-811D16FA1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78C76C-A706-497D-B573-CF00527FEA57}" type="slidenum">
              <a:rPr lang="nl-NL" altLang="nl-NL" smtClean="0"/>
              <a:pPr>
                <a:defRPr/>
              </a:pPr>
              <a:t>3</a:t>
            </a:fld>
            <a:endParaRPr lang="nl-NL" altLang="nl-NL"/>
          </a:p>
        </p:txBody>
      </p:sp>
      <p:sp>
        <p:nvSpPr>
          <p:cNvPr id="6" name="Tijdelijke aanduiding voor inhoud 1">
            <a:extLst>
              <a:ext uri="{FF2B5EF4-FFF2-40B4-BE49-F238E27FC236}">
                <a16:creationId xmlns:a16="http://schemas.microsoft.com/office/drawing/2014/main" id="{CE08D558-F072-2E61-194A-365EB743A218}"/>
              </a:ext>
            </a:extLst>
          </p:cNvPr>
          <p:cNvSpPr txBox="1">
            <a:spLocks/>
          </p:cNvSpPr>
          <p:nvPr/>
        </p:nvSpPr>
        <p:spPr>
          <a:xfrm>
            <a:off x="6375400" y="1680595"/>
            <a:ext cx="5313363" cy="4438590"/>
          </a:xfrm>
          <a:prstGeom prst="rect">
            <a:avLst/>
          </a:prstGeom>
        </p:spPr>
        <p:txBody>
          <a:bodyPr lIns="91440" tIns="45720" rIns="91440" bIns="45720" spcCol="468000" anchor="t">
            <a:norm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srgbClr val="00689A"/>
              </a:buClr>
              <a:buNone/>
              <a:defRPr/>
            </a:pPr>
            <a:r>
              <a:rPr lang="nl-NL" sz="1700" b="1" dirty="0">
                <a:ea typeface="Verdana"/>
              </a:rPr>
              <a:t>Belangrijkste keuzes</a:t>
            </a:r>
            <a:endParaRPr lang="nl-NL" sz="17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r>
              <a:rPr lang="nl-NL" sz="1700" dirty="0">
                <a:ea typeface="Verdana"/>
              </a:rPr>
              <a:t>Combinatie implementatie en beleid </a:t>
            </a:r>
            <a:endParaRPr lang="nl-NL" sz="1700" dirty="0"/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700" dirty="0">
                <a:ea typeface="Verdana"/>
              </a:rPr>
              <a:t>Europese en nationale thema's zeer verknoopt, bv bij netcongestie</a:t>
            </a:r>
            <a:endParaRPr lang="en-US" sz="1700" dirty="0">
              <a:ea typeface="Verdana"/>
            </a:endParaRP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700" dirty="0">
                <a:ea typeface="Verdana"/>
              </a:rPr>
              <a:t>Richtlijn veel open normen (nationale invulling nodig)</a:t>
            </a:r>
            <a:endParaRPr lang="en-US" sz="1700" dirty="0">
              <a:ea typeface="Verdana"/>
            </a:endParaRP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700" dirty="0">
                <a:ea typeface="Verdana"/>
              </a:rPr>
              <a:t>Urgente, actuele ontwikkelingen zoals consumentenbescherming en netcongestie.</a:t>
            </a:r>
          </a:p>
          <a:p>
            <a:pPr marL="315595" indent="-315595" defTabSz="914377"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r>
              <a:rPr lang="nl-NL" sz="1700" dirty="0">
                <a:ea typeface="Verdana"/>
              </a:rPr>
              <a:t>Gas &amp; elektriciteit in één wet</a:t>
            </a:r>
            <a:endParaRPr lang="en-US" sz="1700" dirty="0">
              <a:ea typeface="Verdana"/>
            </a:endParaRP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700" dirty="0">
                <a:ea typeface="Verdana"/>
              </a:rPr>
              <a:t>Meeste regels identiek</a:t>
            </a:r>
            <a:endParaRPr lang="en-US" sz="1700" dirty="0">
              <a:ea typeface="Verdana"/>
            </a:endParaRP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700" dirty="0">
                <a:ea typeface="Verdana"/>
              </a:rPr>
              <a:t>Voor consumenten verschillende regels verwarrend </a:t>
            </a:r>
            <a:endParaRPr lang="en-US" sz="1700" dirty="0">
              <a:ea typeface="Verdana"/>
            </a:endParaRP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700" dirty="0">
                <a:ea typeface="Verdana"/>
              </a:rPr>
              <a:t>dus: één consistent integraal regime </a:t>
            </a:r>
            <a:endParaRPr lang="nl-NL" sz="1700" dirty="0"/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0" indent="0" defTabSz="914377">
              <a:buClr>
                <a:srgbClr val="00689A"/>
              </a:buClr>
              <a:buNone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solidFill>
                <a:srgbClr val="000000"/>
              </a:solidFill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667" u="sng" dirty="0">
              <a:solidFill>
                <a:srgbClr val="E17000"/>
              </a:solidFill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072481589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Titel 2">
            <a:extLst>
              <a:ext uri="{FF2B5EF4-FFF2-40B4-BE49-F238E27FC236}">
                <a16:creationId xmlns:a16="http://schemas.microsoft.com/office/drawing/2014/main" id="{3F87242E-9F96-292F-1620-D3FCF05AB6B7}"/>
              </a:ext>
            </a:extLst>
          </p:cNvPr>
          <p:cNvSpPr txBox="1">
            <a:spLocks/>
          </p:cNvSpPr>
          <p:nvPr/>
        </p:nvSpPr>
        <p:spPr bwMode="auto">
          <a:xfrm>
            <a:off x="503238" y="601663"/>
            <a:ext cx="8488362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b"/>
          <a:lstStyle>
            <a:lvl1pPr defTabSz="912813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628650" indent="-315913" defTabSz="912813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946150" indent="-315913" defTabSz="912813">
              <a:lnSpc>
                <a:spcPct val="90000"/>
              </a:lnSpc>
              <a:spcBef>
                <a:spcPts val="8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58888" indent="-315913" defTabSz="912813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76388" indent="-315913" defTabSz="912813">
              <a:lnSpc>
                <a:spcPct val="9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5pPr>
            <a:lvl6pPr marL="20335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6pPr>
            <a:lvl7pPr marL="24907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7pPr>
            <a:lvl8pPr marL="29479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8pPr>
            <a:lvl9pPr marL="34051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kumimoji="0" lang="nl-NL" altLang="nl-NL" sz="3600" b="1" i="0" u="none" strike="noStrike" kern="1200" cap="none" spc="0" normalizeH="0" baseline="0" noProof="0" dirty="0">
                <a:ln>
                  <a:noFill/>
                </a:ln>
                <a:solidFill>
                  <a:srgbClr val="154273"/>
                </a:solidFill>
                <a:effectLst/>
                <a:uLnTx/>
                <a:uFillTx/>
                <a:latin typeface="RijksoverheidSansText"/>
                <a:cs typeface="Arial"/>
              </a:rPr>
              <a:t>Energiewet | </a:t>
            </a:r>
            <a:r>
              <a:rPr lang="nl-NL" altLang="nl-NL" sz="3600" b="1" dirty="0">
                <a:solidFill>
                  <a:srgbClr val="154273"/>
                </a:solidFill>
                <a:latin typeface="RijksoverheidSansText"/>
                <a:cs typeface="Arial"/>
              </a:rPr>
              <a:t>nieuwe elementen    </a:t>
            </a:r>
            <a:endParaRPr kumimoji="0" lang="nl-NL" altLang="nl-NL" sz="3600" b="1" i="0" u="none" strike="noStrike" kern="1200" cap="none" spc="0" normalizeH="0" baseline="0" noProof="0" dirty="0">
              <a:ln>
                <a:noFill/>
              </a:ln>
              <a:solidFill>
                <a:srgbClr val="154273"/>
              </a:solidFill>
              <a:effectLst/>
              <a:uLnTx/>
              <a:uFillTx/>
              <a:latin typeface="RijksoverheidSansText" panose="020B050304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ijdelijke aanduiding voor inhoud 1">
            <a:extLst>
              <a:ext uri="{FF2B5EF4-FFF2-40B4-BE49-F238E27FC236}">
                <a16:creationId xmlns:a16="http://schemas.microsoft.com/office/drawing/2014/main" id="{B3E87084-B838-B545-DFF7-993312C29A36}"/>
              </a:ext>
            </a:extLst>
          </p:cNvPr>
          <p:cNvSpPr txBox="1">
            <a:spLocks/>
          </p:cNvSpPr>
          <p:nvPr/>
        </p:nvSpPr>
        <p:spPr>
          <a:xfrm>
            <a:off x="272540" y="1680595"/>
            <a:ext cx="5494891" cy="4678005"/>
          </a:xfrm>
          <a:prstGeom prst="rect">
            <a:avLst/>
          </a:prstGeom>
        </p:spPr>
        <p:txBody>
          <a:bodyPr lIns="91440" tIns="45720" rIns="91440" bIns="45720" spcCol="468000" anchor="t">
            <a:no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srgbClr val="00689A"/>
              </a:buClr>
              <a:buNone/>
              <a:defRPr/>
            </a:pPr>
            <a:r>
              <a:rPr lang="nl-NL" sz="1600" b="1" dirty="0">
                <a:ea typeface="Verdana"/>
              </a:rPr>
              <a:t>Input: nieuwe ontwikkelingen</a:t>
            </a:r>
            <a:endParaRPr lang="nl-NL" sz="16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r>
              <a:rPr lang="nl-NL" sz="1600" dirty="0"/>
              <a:t>Nieuwe elementen uit Nederland</a:t>
            </a:r>
            <a:endParaRPr lang="en-US" sz="1600" dirty="0">
              <a:ea typeface="Verdana"/>
            </a:endParaRP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Consumentenbescherming</a:t>
            </a:r>
            <a:endParaRPr lang="en-US" sz="1600" dirty="0"/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Klimaatakkoord</a:t>
            </a:r>
            <a:endParaRPr lang="en-US" sz="1600" dirty="0"/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Netcongestie </a:t>
            </a:r>
          </a:p>
          <a:p>
            <a:pPr marL="315595" indent="-315595" defTabSz="914377"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r>
              <a:rPr lang="nl-NL" sz="1600" dirty="0"/>
              <a:t>Nieuwe elementen Europees richtlijn</a:t>
            </a:r>
            <a:endParaRPr lang="en-US" sz="1600" dirty="0"/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Versterking consumenten rechten. </a:t>
            </a:r>
            <a:endParaRPr lang="en-US" sz="1600" dirty="0"/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herziening rol systeembeheerders, bv bij inkoop flexibiliteit</a:t>
            </a:r>
            <a:endParaRPr lang="en-US" sz="1600" dirty="0"/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Inzet op slimme metersystemen &amp; data-ontsluiting</a:t>
            </a:r>
          </a:p>
          <a:p>
            <a:pPr marL="315595" indent="-315595" defTabSz="914377"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r>
              <a:rPr lang="nl-NL" sz="1600" dirty="0"/>
              <a:t>Nieuwe elementen Europese jurisprudentie: taakverdeling ACM – EZK </a:t>
            </a:r>
            <a:endParaRPr lang="en-US" sz="1600" dirty="0"/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ea typeface="Verdana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095AF08E-CEDC-3143-5212-95D5F60E6B86}"/>
              </a:ext>
            </a:extLst>
          </p:cNvPr>
          <p:cNvSpPr/>
          <p:nvPr/>
        </p:nvSpPr>
        <p:spPr>
          <a:xfrm>
            <a:off x="7519713" y="6365590"/>
            <a:ext cx="932710" cy="3376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08FF22C-1427-C11D-5429-811D16FA1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78C76C-A706-497D-B573-CF00527FEA57}" type="slidenum">
              <a:rPr lang="nl-NL" altLang="nl-NL" smtClean="0"/>
              <a:pPr>
                <a:defRPr/>
              </a:pPr>
              <a:t>4</a:t>
            </a:fld>
            <a:endParaRPr lang="nl-NL" altLang="nl-NL"/>
          </a:p>
        </p:txBody>
      </p:sp>
      <p:sp>
        <p:nvSpPr>
          <p:cNvPr id="6" name="Tijdelijke aanduiding voor inhoud 1">
            <a:extLst>
              <a:ext uri="{FF2B5EF4-FFF2-40B4-BE49-F238E27FC236}">
                <a16:creationId xmlns:a16="http://schemas.microsoft.com/office/drawing/2014/main" id="{CE08D558-F072-2E61-194A-365EB743A218}"/>
              </a:ext>
            </a:extLst>
          </p:cNvPr>
          <p:cNvSpPr txBox="1">
            <a:spLocks/>
          </p:cNvSpPr>
          <p:nvPr/>
        </p:nvSpPr>
        <p:spPr>
          <a:xfrm>
            <a:off x="6437480" y="1715549"/>
            <a:ext cx="5251283" cy="4403636"/>
          </a:xfrm>
          <a:prstGeom prst="rect">
            <a:avLst/>
          </a:prstGeom>
        </p:spPr>
        <p:txBody>
          <a:bodyPr lIns="91440" tIns="45720" rIns="91440" bIns="45720" spcCol="468000" anchor="t">
            <a:norm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srgbClr val="00689A"/>
              </a:buClr>
              <a:buNone/>
              <a:defRPr/>
            </a:pPr>
            <a:r>
              <a:rPr lang="nl-NL" sz="1600" b="1" dirty="0">
                <a:ea typeface="Verdana"/>
              </a:rPr>
              <a:t>Belangrijkste nieuwe elementen wet</a:t>
            </a:r>
            <a:endParaRPr lang="en-US" sz="1600" b="1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r>
              <a:rPr lang="nl-NL" sz="1600" dirty="0">
                <a:ea typeface="Verdana"/>
              </a:rPr>
              <a:t>Versterken positie consumenten </a:t>
            </a: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Meer bescherming </a:t>
            </a:r>
            <a:endParaRPr lang="en-US" sz="1600" dirty="0">
              <a:ea typeface="Verdana"/>
            </a:endParaRP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Regels voor zelf ‘actief worden’</a:t>
            </a:r>
          </a:p>
          <a:p>
            <a:pPr marL="315595" indent="-315595" defTabSz="914377"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r>
              <a:rPr lang="nl-NL" sz="1600" dirty="0">
                <a:ea typeface="Verdana"/>
              </a:rPr>
              <a:t>Toekomstgericht systeembeheer:</a:t>
            </a: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aanpakken netcongestie</a:t>
            </a: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prioriteren </a:t>
            </a:r>
          </a:p>
          <a:p>
            <a:pPr marL="315595" indent="-315595" defTabSz="914377"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r>
              <a:rPr lang="nl-NL" sz="1600" dirty="0">
                <a:ea typeface="Verdana"/>
              </a:rPr>
              <a:t>Energiedata:</a:t>
            </a: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herzien stelsel voor beheer en uitwisseling</a:t>
            </a:r>
            <a:endParaRPr lang="en-US" sz="1600" dirty="0">
              <a:ea typeface="Verdana"/>
            </a:endParaRP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aandacht voor bescherming gegevens</a:t>
            </a:r>
            <a:endParaRPr lang="en-US" sz="1600" dirty="0">
              <a:ea typeface="Verdana"/>
            </a:endParaRP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datakwaliteit</a:t>
            </a:r>
            <a:endParaRPr lang="en-US" sz="1600" dirty="0">
              <a:ea typeface="Verdana"/>
            </a:endParaRP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standaardisatie</a:t>
            </a:r>
          </a:p>
          <a:p>
            <a:pPr lvl="1" indent="-315595" defTabSz="914377">
              <a:buClr>
                <a:srgbClr val="00689A"/>
              </a:buClr>
              <a:buFont typeface="Courier New,monospace" panose="05000000000000000000" pitchFamily="2" charset="2"/>
              <a:buChar char="o"/>
              <a:defRPr/>
            </a:pPr>
            <a:endParaRPr lang="nl-NL" sz="6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,monospace" panose="05000000000000000000" pitchFamily="2" charset="2"/>
              <a:buChar char="o"/>
              <a:defRPr/>
            </a:pPr>
            <a:endParaRPr lang="nl-NL" sz="18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0" indent="0" defTabSz="914377">
              <a:buClr>
                <a:srgbClr val="00689A"/>
              </a:buClr>
              <a:buNone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solidFill>
                <a:srgbClr val="000000"/>
              </a:solidFill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667" u="sng" dirty="0">
              <a:solidFill>
                <a:srgbClr val="E17000"/>
              </a:solidFill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28250913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Titel 2">
            <a:extLst>
              <a:ext uri="{FF2B5EF4-FFF2-40B4-BE49-F238E27FC236}">
                <a16:creationId xmlns:a16="http://schemas.microsoft.com/office/drawing/2014/main" id="{3F87242E-9F96-292F-1620-D3FCF05AB6B7}"/>
              </a:ext>
            </a:extLst>
          </p:cNvPr>
          <p:cNvSpPr txBox="1">
            <a:spLocks/>
          </p:cNvSpPr>
          <p:nvPr/>
        </p:nvSpPr>
        <p:spPr bwMode="auto">
          <a:xfrm>
            <a:off x="503237" y="601663"/>
            <a:ext cx="11409129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b"/>
          <a:lstStyle>
            <a:lvl1pPr defTabSz="912813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628650" indent="-315913" defTabSz="912813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946150" indent="-315913" defTabSz="912813">
              <a:lnSpc>
                <a:spcPct val="90000"/>
              </a:lnSpc>
              <a:spcBef>
                <a:spcPts val="8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58888" indent="-315913" defTabSz="912813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76388" indent="-315913" defTabSz="912813">
              <a:lnSpc>
                <a:spcPct val="9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5pPr>
            <a:lvl6pPr marL="20335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6pPr>
            <a:lvl7pPr marL="24907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7pPr>
            <a:lvl8pPr marL="29479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8pPr>
            <a:lvl9pPr marL="34051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kumimoji="0" lang="nl-NL" altLang="nl-NL" sz="3600" b="1" i="0" u="none" strike="noStrike" kern="1200" cap="none" spc="0" normalizeH="0" baseline="0" noProof="0" dirty="0">
                <a:ln>
                  <a:noFill/>
                </a:ln>
                <a:solidFill>
                  <a:srgbClr val="154273"/>
                </a:solidFill>
                <a:effectLst/>
                <a:uLnTx/>
                <a:uFillTx/>
                <a:latin typeface="RijksoverheidSansText"/>
                <a:cs typeface="Arial"/>
              </a:rPr>
              <a:t>Energiewet | consumenten (H2)</a:t>
            </a:r>
            <a:r>
              <a:rPr lang="nl-NL" altLang="nl-NL" sz="3600" b="1" dirty="0">
                <a:solidFill>
                  <a:srgbClr val="154273"/>
                </a:solidFill>
                <a:latin typeface="RijksoverheidSansText"/>
                <a:cs typeface="Arial"/>
              </a:rPr>
              <a:t> (1 / 2)</a:t>
            </a:r>
            <a:endParaRPr kumimoji="0" lang="nl-NL" altLang="nl-NL" sz="3600" b="1" i="0" u="none" strike="noStrike" kern="1200" cap="none" spc="0" normalizeH="0" baseline="0" noProof="0" dirty="0">
              <a:ln>
                <a:noFill/>
              </a:ln>
              <a:solidFill>
                <a:srgbClr val="154273"/>
              </a:solidFill>
              <a:effectLst/>
              <a:uLnTx/>
              <a:uFillTx/>
              <a:latin typeface="RijksoverheidSansText"/>
              <a:cs typeface="Arial"/>
            </a:endParaRPr>
          </a:p>
        </p:txBody>
      </p:sp>
      <p:sp>
        <p:nvSpPr>
          <p:cNvPr id="25" name="Tijdelijke aanduiding voor inhoud 1">
            <a:extLst>
              <a:ext uri="{FF2B5EF4-FFF2-40B4-BE49-F238E27FC236}">
                <a16:creationId xmlns:a16="http://schemas.microsoft.com/office/drawing/2014/main" id="{82788E64-ABAF-40C0-794A-42C0126B60DD}"/>
              </a:ext>
            </a:extLst>
          </p:cNvPr>
          <p:cNvSpPr txBox="1">
            <a:spLocks/>
          </p:cNvSpPr>
          <p:nvPr/>
        </p:nvSpPr>
        <p:spPr>
          <a:xfrm>
            <a:off x="503237" y="1910403"/>
            <a:ext cx="8923153" cy="4345934"/>
          </a:xfrm>
          <a:prstGeom prst="rect">
            <a:avLst/>
          </a:prstGeom>
        </p:spPr>
        <p:txBody>
          <a:bodyPr lIns="91440" tIns="45720" rIns="91440" bIns="45720" spcCol="468000" anchor="t">
            <a:no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srgbClr val="00689A"/>
              </a:buClr>
              <a:buNone/>
              <a:defRPr/>
            </a:pPr>
            <a:r>
              <a:rPr lang="nl-NL" sz="1600" b="1" dirty="0">
                <a:solidFill>
                  <a:srgbClr val="000000"/>
                </a:solidFill>
              </a:rPr>
              <a:t>Nieuwe onderdelen toezicht door ACM</a:t>
            </a:r>
            <a:endParaRPr lang="nl-NL" sz="1600" b="1" dirty="0">
              <a:solidFill>
                <a:srgbClr val="000000"/>
              </a:solidFill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r>
              <a:rPr lang="nl-NL" sz="1600" b="1" dirty="0"/>
              <a:t>Versterking nationale beschermingsregime </a:t>
            </a:r>
            <a:endParaRPr lang="nl-NL" sz="1600" b="1" dirty="0">
              <a:solidFill>
                <a:schemeClr val="accent6">
                  <a:lumMod val="75000"/>
                </a:schemeClr>
              </a:solidFill>
              <a:ea typeface="Verdana"/>
            </a:endParaRPr>
          </a:p>
          <a:p>
            <a:pPr marL="457200" lvl="1" indent="-315595" defTabSz="914377" eaLnBrk="1" hangingPunct="1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solidFill>
                  <a:srgbClr val="000000"/>
                </a:solidFill>
              </a:rPr>
              <a:t>Vergunningseisen (</a:t>
            </a:r>
            <a:r>
              <a:rPr lang="nl-NL" sz="1600" dirty="0" err="1">
                <a:solidFill>
                  <a:srgbClr val="000000"/>
                </a:solidFill>
              </a:rPr>
              <a:t>Bibob</a:t>
            </a:r>
            <a:r>
              <a:rPr lang="nl-NL" sz="1600" dirty="0">
                <a:solidFill>
                  <a:srgbClr val="000000"/>
                </a:solidFill>
              </a:rPr>
              <a:t>)</a:t>
            </a:r>
          </a:p>
          <a:p>
            <a:pPr marL="457200"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solidFill>
                  <a:srgbClr val="000000"/>
                </a:solidFill>
                <a:ea typeface="Verdana"/>
              </a:rPr>
              <a:t>Verruiming</a:t>
            </a:r>
            <a:r>
              <a:rPr lang="nl-NL" sz="1600" dirty="0">
                <a:solidFill>
                  <a:srgbClr val="000000"/>
                </a:solidFill>
              </a:rPr>
              <a:t> intrekkingsgronden vergunning</a:t>
            </a:r>
          </a:p>
          <a:p>
            <a:pPr marL="457200"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solidFill>
                  <a:srgbClr val="000000"/>
                </a:solidFill>
              </a:rPr>
              <a:t>Verplicht aanbod modelcontract tegen vast tarief en bepaalde duur (naast variabel modelcontract)</a:t>
            </a:r>
          </a:p>
          <a:p>
            <a:pPr marL="457200"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solidFill>
                  <a:srgbClr val="000000"/>
                </a:solidFill>
              </a:rPr>
              <a:t>Aanscherping monitoring/toezicht ACM (in NvW ook redelijke  prijzen) </a:t>
            </a:r>
          </a:p>
          <a:p>
            <a:pPr marL="457200"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solidFill>
                  <a:srgbClr val="000000"/>
                </a:solidFill>
              </a:rPr>
              <a:t>Diverse aanpassingen op vlak van het ‘leveranciers-model’, regels rondom afsluiten bij wanbetaling en regels rondom opzegvergoedingen. </a:t>
            </a:r>
            <a:endParaRPr lang="nl-NL" sz="1600" dirty="0">
              <a:solidFill>
                <a:srgbClr val="000000"/>
              </a:solidFill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6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r>
              <a:rPr lang="nl-NL" sz="1600" dirty="0"/>
              <a:t>Optelsom: versterking toezichtpositie van ACM </a:t>
            </a:r>
            <a:endParaRPr lang="nl-NL" sz="16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900" dirty="0">
              <a:ea typeface="Verdana"/>
            </a:endParaRPr>
          </a:p>
          <a:p>
            <a:pPr marL="0" indent="0" defTabSz="914377">
              <a:buClr>
                <a:srgbClr val="00689A"/>
              </a:buClr>
              <a:buNone/>
              <a:defRPr/>
            </a:pPr>
            <a:endParaRPr lang="nl-NL" sz="1300" dirty="0"/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1507" dirty="0">
              <a:ea typeface="Verdana"/>
            </a:endParaRPr>
          </a:p>
          <a:p>
            <a:pPr marL="0" indent="0" defTabSz="914377">
              <a:buClr>
                <a:srgbClr val="00689A"/>
              </a:buClr>
              <a:buFont typeface="Verdana" panose="020B0604030504040204" pitchFamily="34" charset="0"/>
              <a:buNone/>
              <a:defRPr/>
            </a:pPr>
            <a:endParaRPr lang="nl-NL" sz="1507" dirty="0"/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667" u="sng" dirty="0">
              <a:solidFill>
                <a:schemeClr val="accent6"/>
              </a:solidFill>
              <a:ea typeface="Verdana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439C9F23-3424-33E0-CF7A-5A1E783C8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78C76C-A706-497D-B573-CF00527FEA57}" type="slidenum">
              <a:rPr lang="nl-NL" altLang="nl-NL" smtClean="0"/>
              <a:pPr>
                <a:defRPr/>
              </a:pPr>
              <a:t>5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06389466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Titel 2">
            <a:extLst>
              <a:ext uri="{FF2B5EF4-FFF2-40B4-BE49-F238E27FC236}">
                <a16:creationId xmlns:a16="http://schemas.microsoft.com/office/drawing/2014/main" id="{3F87242E-9F96-292F-1620-D3FCF05AB6B7}"/>
              </a:ext>
            </a:extLst>
          </p:cNvPr>
          <p:cNvSpPr txBox="1">
            <a:spLocks/>
          </p:cNvSpPr>
          <p:nvPr/>
        </p:nvSpPr>
        <p:spPr bwMode="auto">
          <a:xfrm>
            <a:off x="503237" y="601663"/>
            <a:ext cx="11409129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b"/>
          <a:lstStyle>
            <a:lvl1pPr defTabSz="912813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628650" indent="-315913" defTabSz="912813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946150" indent="-315913" defTabSz="912813">
              <a:lnSpc>
                <a:spcPct val="90000"/>
              </a:lnSpc>
              <a:spcBef>
                <a:spcPts val="8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58888" indent="-315913" defTabSz="912813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76388" indent="-315913" defTabSz="912813">
              <a:lnSpc>
                <a:spcPct val="9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5pPr>
            <a:lvl6pPr marL="20335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6pPr>
            <a:lvl7pPr marL="24907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7pPr>
            <a:lvl8pPr marL="29479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8pPr>
            <a:lvl9pPr marL="34051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kumimoji="0" lang="nl-NL" altLang="nl-NL" sz="3600" b="1" i="0" u="none" strike="noStrike" kern="1200" cap="none" spc="0" normalizeH="0" baseline="0" noProof="0" dirty="0">
                <a:ln>
                  <a:noFill/>
                </a:ln>
                <a:solidFill>
                  <a:srgbClr val="154273"/>
                </a:solidFill>
                <a:effectLst/>
                <a:uLnTx/>
                <a:uFillTx/>
                <a:latin typeface="RijksoverheidSansText"/>
                <a:cs typeface="Arial"/>
              </a:rPr>
              <a:t>Energiewet |</a:t>
            </a:r>
            <a:r>
              <a:rPr lang="nl-NL" altLang="nl-NL" sz="3600" b="1" dirty="0">
                <a:solidFill>
                  <a:srgbClr val="154273"/>
                </a:solidFill>
                <a:latin typeface="RijksoverheidSansText"/>
                <a:cs typeface="Arial"/>
              </a:rPr>
              <a:t> </a:t>
            </a:r>
            <a:r>
              <a:rPr kumimoji="0" lang="nl-NL" altLang="nl-NL" sz="3600" b="1" i="0" u="none" strike="noStrike" kern="1200" cap="none" spc="0" normalizeH="0" baseline="0" noProof="0" dirty="0">
                <a:ln>
                  <a:noFill/>
                </a:ln>
                <a:solidFill>
                  <a:srgbClr val="154273"/>
                </a:solidFill>
                <a:effectLst/>
                <a:uLnTx/>
                <a:uFillTx/>
                <a:latin typeface="RijksoverheidSansText"/>
                <a:cs typeface="Arial"/>
              </a:rPr>
              <a:t> consumenten (H2)</a:t>
            </a:r>
            <a:r>
              <a:rPr lang="nl-NL" altLang="nl-NL" sz="3600" b="1" dirty="0">
                <a:solidFill>
                  <a:srgbClr val="154273"/>
                </a:solidFill>
                <a:latin typeface="RijksoverheidSansText"/>
                <a:cs typeface="Arial"/>
              </a:rPr>
              <a:t> (2 / 2)</a:t>
            </a:r>
            <a:endParaRPr kumimoji="0" lang="nl-NL" altLang="nl-NL" sz="3600" b="1" i="0" u="none" strike="noStrike" kern="1200" cap="none" spc="0" normalizeH="0" baseline="0" noProof="0" dirty="0">
              <a:ln>
                <a:noFill/>
              </a:ln>
              <a:solidFill>
                <a:srgbClr val="154273"/>
              </a:solidFill>
              <a:effectLst/>
              <a:uLnTx/>
              <a:uFillTx/>
              <a:latin typeface="RijksoverheidSansText"/>
              <a:cs typeface="Arial"/>
            </a:endParaRPr>
          </a:p>
        </p:txBody>
      </p:sp>
      <p:sp>
        <p:nvSpPr>
          <p:cNvPr id="25" name="Tijdelijke aanduiding voor inhoud 1">
            <a:extLst>
              <a:ext uri="{FF2B5EF4-FFF2-40B4-BE49-F238E27FC236}">
                <a16:creationId xmlns:a16="http://schemas.microsoft.com/office/drawing/2014/main" id="{82788E64-ABAF-40C0-794A-42C0126B60DD}"/>
              </a:ext>
            </a:extLst>
          </p:cNvPr>
          <p:cNvSpPr txBox="1">
            <a:spLocks/>
          </p:cNvSpPr>
          <p:nvPr/>
        </p:nvSpPr>
        <p:spPr>
          <a:xfrm>
            <a:off x="573087" y="1548453"/>
            <a:ext cx="5456053" cy="4707884"/>
          </a:xfrm>
          <a:prstGeom prst="rect">
            <a:avLst/>
          </a:prstGeom>
        </p:spPr>
        <p:txBody>
          <a:bodyPr lIns="91440" tIns="45720" rIns="91440" bIns="45720" spcCol="468000" anchor="t">
            <a:norm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srgbClr val="00689A"/>
              </a:buClr>
              <a:buNone/>
              <a:defRPr/>
            </a:pPr>
            <a:r>
              <a:rPr lang="nl-NL" sz="1600" b="1" dirty="0">
                <a:solidFill>
                  <a:srgbClr val="000000"/>
                </a:solidFill>
              </a:rPr>
              <a:t>Nieuwe onderdelen positie consument</a:t>
            </a:r>
          </a:p>
          <a:p>
            <a:pPr marL="0" indent="0" defTabSz="914377">
              <a:buNone/>
              <a:defRPr/>
            </a:pPr>
            <a:endParaRPr lang="nl-NL" sz="1600" b="1" dirty="0">
              <a:ea typeface="Verdana"/>
            </a:endParaRPr>
          </a:p>
          <a:p>
            <a:pPr marL="0" indent="0" defTabSz="914377">
              <a:buNone/>
              <a:defRPr/>
            </a:pPr>
            <a:endParaRPr lang="nl-NL" sz="1600" b="1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900" dirty="0">
              <a:ea typeface="Verdana"/>
            </a:endParaRPr>
          </a:p>
          <a:p>
            <a:pPr marL="0" indent="0" defTabSz="914377">
              <a:buClr>
                <a:srgbClr val="00689A"/>
              </a:buClr>
              <a:buNone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1507" dirty="0">
              <a:solidFill>
                <a:srgbClr val="000000"/>
              </a:solidFill>
              <a:ea typeface="Verdana"/>
            </a:endParaRPr>
          </a:p>
          <a:p>
            <a:pPr marL="0" indent="0" defTabSz="914377">
              <a:buClr>
                <a:srgbClr val="00689A"/>
              </a:buClr>
              <a:buNone/>
              <a:defRPr/>
            </a:pPr>
            <a:endParaRPr lang="nl-NL" sz="1507" dirty="0">
              <a:solidFill>
                <a:srgbClr val="000000"/>
              </a:solidFill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667" u="sng" dirty="0">
              <a:solidFill>
                <a:schemeClr val="accent6"/>
              </a:solidFill>
              <a:ea typeface="Verdana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439C9F23-3424-33E0-CF7A-5A1E783C8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78C76C-A706-497D-B573-CF00527FEA57}" type="slidenum">
              <a:rPr lang="nl-NL" altLang="nl-NL" smtClean="0"/>
              <a:pPr>
                <a:defRPr/>
              </a:pPr>
              <a:t>6</a:t>
            </a:fld>
            <a:endParaRPr lang="nl-NL" altLang="nl-NL"/>
          </a:p>
        </p:txBody>
      </p:sp>
      <p:sp>
        <p:nvSpPr>
          <p:cNvPr id="4" name="Tijdelijke aanduiding voor inhoud 1">
            <a:extLst>
              <a:ext uri="{FF2B5EF4-FFF2-40B4-BE49-F238E27FC236}">
                <a16:creationId xmlns:a16="http://schemas.microsoft.com/office/drawing/2014/main" id="{5333311D-5986-D117-E0EE-EE6C6DC0219F}"/>
              </a:ext>
            </a:extLst>
          </p:cNvPr>
          <p:cNvSpPr txBox="1">
            <a:spLocks/>
          </p:cNvSpPr>
          <p:nvPr/>
        </p:nvSpPr>
        <p:spPr>
          <a:xfrm>
            <a:off x="528977" y="1967659"/>
            <a:ext cx="9204624" cy="4381203"/>
          </a:xfrm>
          <a:prstGeom prst="rect">
            <a:avLst/>
          </a:prstGeom>
        </p:spPr>
        <p:txBody>
          <a:bodyPr lIns="91440" tIns="45720" rIns="91440" bIns="45720" spcCol="468000" anchor="t">
            <a:normAutofit/>
          </a:bodyPr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r>
              <a:rPr lang="nl-NL" sz="1600" b="1" dirty="0">
                <a:solidFill>
                  <a:srgbClr val="000000"/>
                </a:solidFill>
              </a:rPr>
              <a:t>Implementatie Richtlijn 2019/944</a:t>
            </a:r>
            <a:r>
              <a:rPr lang="nl-NL" sz="1600" dirty="0">
                <a:solidFill>
                  <a:srgbClr val="000000"/>
                </a:solidFill>
              </a:rPr>
              <a:t>, o.a. </a:t>
            </a:r>
            <a:endParaRPr lang="en-US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solidFill>
                  <a:srgbClr val="000000"/>
                </a:solidFill>
              </a:rPr>
              <a:t>Verbreding bescherming eindafnemer (rechten voor bredere groep, alternatieve geschilbeslechting, etc.) (NvW)</a:t>
            </a:r>
            <a:endParaRPr lang="nl-NL" sz="1600" dirty="0">
              <a:solidFill>
                <a:srgbClr val="000000"/>
              </a:solidFill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solidFill>
                  <a:srgbClr val="000000"/>
                </a:solidFill>
              </a:rPr>
              <a:t>Regels voor zelf ‘actief worden’ (verkoop eigen productie, deelname aan flexibiliteits- en vraagresponsregelingen) </a:t>
            </a:r>
            <a:endParaRPr lang="nl-NL" sz="1600" dirty="0">
              <a:solidFill>
                <a:srgbClr val="000000"/>
              </a:solidFill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solidFill>
                  <a:srgbClr val="000000"/>
                </a:solidFill>
              </a:rPr>
              <a:t>Inbedding nieuwe marktvormen (opkopen elektriciteit, peer-</a:t>
            </a:r>
            <a:r>
              <a:rPr lang="nl-NL" sz="1600" dirty="0" err="1">
                <a:solidFill>
                  <a:srgbClr val="000000"/>
                </a:solidFill>
              </a:rPr>
              <a:t>to</a:t>
            </a:r>
            <a:r>
              <a:rPr lang="nl-NL" sz="1600" dirty="0">
                <a:solidFill>
                  <a:srgbClr val="000000"/>
                </a:solidFill>
              </a:rPr>
              <a:t>-peer handel, vraagrespons); energiegemeenschap</a:t>
            </a:r>
            <a:endParaRPr lang="nl-NL" sz="1600" dirty="0">
              <a:solidFill>
                <a:srgbClr val="000000"/>
              </a:solidFill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600" dirty="0">
              <a:solidFill>
                <a:srgbClr val="000000"/>
              </a:solidFill>
              <a:ea typeface="Verdana"/>
            </a:endParaRPr>
          </a:p>
          <a:p>
            <a:pPr marL="285750" indent="-285750" defTabSz="914377">
              <a:buClr>
                <a:srgbClr val="00689A"/>
              </a:buClr>
              <a:buFont typeface="Wingdings"/>
              <a:buChar char="ü"/>
              <a:defRPr/>
            </a:pPr>
            <a:r>
              <a:rPr lang="nl-NL" sz="1600" b="1" dirty="0">
                <a:ea typeface="Verdana"/>
              </a:rPr>
              <a:t>Leveringszekerheid bij faillissement (NvW)</a:t>
            </a:r>
            <a:endParaRPr lang="nl-NL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solidFill>
                  <a:srgbClr val="000000"/>
                </a:solidFill>
              </a:rPr>
              <a:t>verduidelijking overname en </a:t>
            </a:r>
            <a:endParaRPr lang="nl-NL" sz="1600" dirty="0">
              <a:solidFill>
                <a:srgbClr val="000000"/>
              </a:solidFill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solidFill>
                  <a:srgbClr val="000000"/>
                </a:solidFill>
              </a:rPr>
              <a:t>grondslag restverdeling; uitwerking volgt in lagere regelgeving</a:t>
            </a:r>
            <a:endParaRPr lang="nl-NL" sz="1600" dirty="0">
              <a:solidFill>
                <a:srgbClr val="000000"/>
              </a:solidFill>
              <a:ea typeface="Verdana"/>
            </a:endParaRPr>
          </a:p>
          <a:p>
            <a:pPr marL="141605" lvl="1" defTabSz="914377">
              <a:buClr>
                <a:srgbClr val="00689A"/>
              </a:buClr>
              <a:defRPr/>
            </a:pPr>
            <a:endParaRPr lang="nl-NL" sz="1600" dirty="0">
              <a:ea typeface="Verdana"/>
            </a:endParaRPr>
          </a:p>
          <a:p>
            <a:pPr marL="285750" indent="-285750" defTabSz="914377">
              <a:buClr>
                <a:srgbClr val="00689A"/>
              </a:buClr>
              <a:buFont typeface="Wingdings"/>
              <a:buChar char="ü"/>
              <a:defRPr/>
            </a:pPr>
            <a:r>
              <a:rPr lang="nl-NL" sz="1600" b="1" dirty="0">
                <a:ea typeface="Verdana"/>
              </a:rPr>
              <a:t>Verankering definitie kwetsbare afnemers (NvW)</a:t>
            </a:r>
          </a:p>
          <a:p>
            <a:pPr defTabSz="914377">
              <a:buClr>
                <a:srgbClr val="00689A"/>
              </a:buClr>
              <a:defRPr/>
            </a:pPr>
            <a:endParaRPr lang="nl-NL" sz="1600" b="1" dirty="0">
              <a:highlight>
                <a:srgbClr val="00FF00"/>
              </a:highlight>
              <a:ea typeface="Verdana"/>
            </a:endParaRPr>
          </a:p>
          <a:p>
            <a:pPr defTabSz="914377">
              <a:defRPr/>
            </a:pPr>
            <a:endParaRPr lang="nl-NL" sz="1600" b="1" dirty="0">
              <a:highlight>
                <a:srgbClr val="00FF00"/>
              </a:highlight>
            </a:endParaRPr>
          </a:p>
          <a:p>
            <a:pPr defTabSz="914377">
              <a:defRPr/>
            </a:pPr>
            <a:endParaRPr lang="nl-NL" sz="1600" b="1" dirty="0">
              <a:highlight>
                <a:srgbClr val="00FF00"/>
              </a:highlight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r>
              <a:rPr lang="nl-NL" sz="1600" b="1" dirty="0"/>
              <a:t>Buiten scope wetsvoorstel</a:t>
            </a:r>
            <a:r>
              <a:rPr lang="nl-NL" sz="1600" dirty="0"/>
              <a:t>: koopkracht en crisismaatregelen zoals prijsplafond </a:t>
            </a:r>
            <a:endParaRPr lang="nl-NL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Verdana"/>
              <a:buAutoNum type="arabicPeriod"/>
              <a:defRPr/>
            </a:pPr>
            <a:endParaRPr lang="nl-NL" sz="12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667" u="sng" dirty="0">
              <a:solidFill>
                <a:schemeClr val="accent6"/>
              </a:solidFill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79071980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Titel 2">
            <a:extLst>
              <a:ext uri="{FF2B5EF4-FFF2-40B4-BE49-F238E27FC236}">
                <a16:creationId xmlns:a16="http://schemas.microsoft.com/office/drawing/2014/main" id="{3F87242E-9F96-292F-1620-D3FCF05AB6B7}"/>
              </a:ext>
            </a:extLst>
          </p:cNvPr>
          <p:cNvSpPr txBox="1">
            <a:spLocks/>
          </p:cNvSpPr>
          <p:nvPr/>
        </p:nvSpPr>
        <p:spPr bwMode="auto">
          <a:xfrm>
            <a:off x="503237" y="601663"/>
            <a:ext cx="11409129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628650" indent="-315913" defTabSz="912813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946150" indent="-315913" defTabSz="912813">
              <a:lnSpc>
                <a:spcPct val="90000"/>
              </a:lnSpc>
              <a:spcBef>
                <a:spcPts val="8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58888" indent="-315913" defTabSz="912813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76388" indent="-315913" defTabSz="912813">
              <a:lnSpc>
                <a:spcPct val="9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5pPr>
            <a:lvl6pPr marL="20335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6pPr>
            <a:lvl7pPr marL="24907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7pPr>
            <a:lvl8pPr marL="29479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8pPr>
            <a:lvl9pPr marL="34051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nl-NL" altLang="nl-NL" sz="3600" b="1" i="0" u="none" strike="noStrike" kern="1200" cap="none" spc="0" normalizeH="0" baseline="0" noProof="0" dirty="0">
                <a:ln>
                  <a:noFill/>
                </a:ln>
                <a:solidFill>
                  <a:srgbClr val="154273"/>
                </a:solidFill>
                <a:effectLst/>
                <a:uLnTx/>
                <a:uFillTx/>
                <a:latin typeface="RijksoverheidSansText" panose="020B0503040202060203" pitchFamily="34" charset="0"/>
                <a:ea typeface="+mn-ea"/>
                <a:cs typeface="Arial" panose="020B0604020202020204" pitchFamily="34" charset="0"/>
              </a:rPr>
              <a:t>Energiewet | toekomstgericht systeembeheer (H3)</a:t>
            </a:r>
          </a:p>
        </p:txBody>
      </p:sp>
      <p:sp>
        <p:nvSpPr>
          <p:cNvPr id="25" name="Tijdelijke aanduiding voor inhoud 1">
            <a:extLst>
              <a:ext uri="{FF2B5EF4-FFF2-40B4-BE49-F238E27FC236}">
                <a16:creationId xmlns:a16="http://schemas.microsoft.com/office/drawing/2014/main" id="{82788E64-ABAF-40C0-794A-42C0126B60DD}"/>
              </a:ext>
            </a:extLst>
          </p:cNvPr>
          <p:cNvSpPr txBox="1">
            <a:spLocks/>
          </p:cNvSpPr>
          <p:nvPr/>
        </p:nvSpPr>
        <p:spPr>
          <a:xfrm>
            <a:off x="528638" y="1663671"/>
            <a:ext cx="5429710" cy="5055694"/>
          </a:xfrm>
          <a:prstGeom prst="rect">
            <a:avLst/>
          </a:prstGeom>
        </p:spPr>
        <p:txBody>
          <a:bodyPr lIns="91440" tIns="45720" rIns="91440" bIns="45720" spcCol="468000" anchor="t">
            <a:norm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srgbClr val="00689A"/>
              </a:buClr>
              <a:buNone/>
              <a:defRPr/>
            </a:pPr>
            <a:r>
              <a:rPr lang="nl-NL" sz="1500" b="1" dirty="0">
                <a:solidFill>
                  <a:srgbClr val="000000"/>
                </a:solidFill>
              </a:rPr>
              <a:t>Kernelementen &amp; nieuwe onderdelen</a:t>
            </a:r>
          </a:p>
          <a:p>
            <a:pPr marL="315595" indent="-315595" defTabSz="914377">
              <a:lnSpc>
                <a:spcPct val="120000"/>
              </a:lnSpc>
              <a:spcAft>
                <a:spcPts val="0"/>
              </a:spcAft>
              <a:buFont typeface="Wingdings,Sans-Serif"/>
              <a:buChar char="ü"/>
              <a:defRPr/>
            </a:pPr>
            <a:r>
              <a:rPr lang="nl-NL" sz="1600" dirty="0">
                <a:ea typeface="Verdana"/>
              </a:rPr>
              <a:t>Ordening &amp; kerntaken netbeheerders blijven gelijk (</a:t>
            </a:r>
            <a:r>
              <a:rPr lang="nl-NL" sz="1600" dirty="0" err="1">
                <a:ea typeface="Verdana"/>
              </a:rPr>
              <a:t>oa</a:t>
            </a:r>
            <a:r>
              <a:rPr lang="nl-NL" sz="1600" dirty="0">
                <a:ea typeface="Verdana"/>
              </a:rPr>
              <a:t> aansluiten, transport, balanceren)</a:t>
            </a:r>
            <a:endParaRPr lang="en-US" sz="1600" dirty="0">
              <a:ea typeface="Verdana"/>
            </a:endParaRPr>
          </a:p>
          <a:p>
            <a:pPr marL="315595" indent="-315595" defTabSz="914377">
              <a:lnSpc>
                <a:spcPct val="120000"/>
              </a:lnSpc>
              <a:spcAft>
                <a:spcPts val="0"/>
              </a:spcAft>
              <a:buFont typeface="Wingdings,Sans-Serif"/>
              <a:buChar char="ü"/>
              <a:defRPr/>
            </a:pPr>
            <a:r>
              <a:rPr lang="nl-NL" sz="1600" dirty="0">
                <a:ea typeface="Verdana"/>
              </a:rPr>
              <a:t>Netcongestie nieuwe onderdelen: </a:t>
            </a:r>
            <a:endParaRPr lang="en-US" sz="1600" dirty="0">
              <a:ea typeface="Verdana"/>
            </a:endParaRPr>
          </a:p>
          <a:p>
            <a:pPr marL="598805" lvl="1" indent="-285750" defTabSz="914377">
              <a:lnSpc>
                <a:spcPct val="12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Basis voor ACM inzake aansluittermijnen</a:t>
            </a:r>
            <a:endParaRPr lang="nl-NL" dirty="0">
              <a:ea typeface="Verdana"/>
            </a:endParaRPr>
          </a:p>
          <a:p>
            <a:pPr marL="598805" lvl="1" indent="-285750" defTabSz="914377">
              <a:lnSpc>
                <a:spcPct val="12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Basis inkoop congestiediensten en flexibiliteitsdiensten</a:t>
            </a:r>
          </a:p>
          <a:p>
            <a:pPr marL="598805" lvl="1" indent="-285750" defTabSz="914377">
              <a:lnSpc>
                <a:spcPct val="12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Verruiming toepassing '</a:t>
            </a:r>
            <a:r>
              <a:rPr lang="nl-NL" sz="1600" dirty="0" err="1">
                <a:ea typeface="Verdana"/>
              </a:rPr>
              <a:t>cable</a:t>
            </a:r>
            <a:r>
              <a:rPr lang="nl-NL" sz="1600" dirty="0">
                <a:ea typeface="Verdana"/>
              </a:rPr>
              <a:t> pooling' (NvW)</a:t>
            </a:r>
          </a:p>
          <a:p>
            <a:pPr marL="315595" indent="-315595" defTabSz="914377">
              <a:lnSpc>
                <a:spcPct val="120000"/>
              </a:lnSpc>
              <a:spcAft>
                <a:spcPts val="0"/>
              </a:spcAft>
              <a:buFont typeface="Wingdings,Sans-Serif"/>
              <a:buChar char="ü"/>
              <a:defRPr/>
            </a:pPr>
            <a:r>
              <a:rPr lang="nl-NL" sz="1600" dirty="0">
                <a:ea typeface="Verdana"/>
              </a:rPr>
              <a:t>Grondslag prioriteringskader voor investeringen netbeheerders (MIEK) </a:t>
            </a:r>
            <a:endParaRPr lang="en-US" sz="1600" dirty="0">
              <a:ea typeface="Verdana"/>
            </a:endParaRPr>
          </a:p>
          <a:p>
            <a:pPr lvl="1" indent="-315595" defTabSz="914377">
              <a:buFont typeface="Courier New,monospace"/>
              <a:buChar char="o"/>
              <a:defRPr/>
            </a:pPr>
            <a:endParaRPr lang="nl-NL" sz="1507" dirty="0">
              <a:solidFill>
                <a:srgbClr val="000000"/>
              </a:solidFill>
              <a:ea typeface="Verdana"/>
            </a:endParaRPr>
          </a:p>
          <a:p>
            <a:pPr marL="0" indent="0" defTabSz="914377">
              <a:buClr>
                <a:srgbClr val="00689A"/>
              </a:buClr>
              <a:buNone/>
              <a:defRPr/>
            </a:pPr>
            <a:endParaRPr lang="nl-NL" sz="1507" dirty="0">
              <a:solidFill>
                <a:srgbClr val="000000"/>
              </a:solidFill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667" u="sng" dirty="0">
              <a:solidFill>
                <a:schemeClr val="accent6"/>
              </a:solidFill>
              <a:ea typeface="Verdana"/>
            </a:endParaRPr>
          </a:p>
        </p:txBody>
      </p:sp>
      <p:sp>
        <p:nvSpPr>
          <p:cNvPr id="28" name="Tijdelijke aanduiding voor inhoud 1">
            <a:extLst>
              <a:ext uri="{FF2B5EF4-FFF2-40B4-BE49-F238E27FC236}">
                <a16:creationId xmlns:a16="http://schemas.microsoft.com/office/drawing/2014/main" id="{5333311D-5986-D117-E0EE-EE6C6DC0219F}"/>
              </a:ext>
            </a:extLst>
          </p:cNvPr>
          <p:cNvSpPr txBox="1">
            <a:spLocks/>
          </p:cNvSpPr>
          <p:nvPr/>
        </p:nvSpPr>
        <p:spPr>
          <a:xfrm>
            <a:off x="6638130" y="1689070"/>
            <a:ext cx="5276777" cy="4592826"/>
          </a:xfrm>
          <a:prstGeom prst="rect">
            <a:avLst/>
          </a:prstGeom>
        </p:spPr>
        <p:txBody>
          <a:bodyPr lIns="91440" tIns="45720" rIns="91440" bIns="45720" spcCol="468000" anchor="t">
            <a:norm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srgbClr val="00689A"/>
              </a:buClr>
              <a:buNone/>
              <a:defRPr/>
            </a:pPr>
            <a:r>
              <a:rPr lang="nl-NL" sz="1500" b="1" dirty="0">
                <a:solidFill>
                  <a:srgbClr val="000000"/>
                </a:solidFill>
              </a:rPr>
              <a:t>Belangrijk</a:t>
            </a:r>
            <a:r>
              <a:rPr lang="nl-NL" sz="1500" dirty="0">
                <a:solidFill>
                  <a:srgbClr val="000000"/>
                </a:solidFill>
                <a:ea typeface="Verdana"/>
              </a:rPr>
              <a:t/>
            </a:r>
            <a:br>
              <a:rPr lang="nl-NL" sz="1500" dirty="0">
                <a:solidFill>
                  <a:srgbClr val="000000"/>
                </a:solidFill>
                <a:ea typeface="Verdana"/>
              </a:rPr>
            </a:br>
            <a:endParaRPr lang="nl-NL" sz="1500" b="1" dirty="0">
              <a:solidFill>
                <a:srgbClr val="000000"/>
              </a:solidFill>
            </a:endParaRPr>
          </a:p>
          <a:p>
            <a:pPr marL="315595" indent="-315595" defTabSz="91437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r>
              <a:rPr lang="nl-NL" sz="1600" dirty="0">
                <a:solidFill>
                  <a:srgbClr val="000000"/>
                </a:solidFill>
              </a:rPr>
              <a:t>Netcongestie</a:t>
            </a:r>
            <a:endParaRPr lang="nl-NL" sz="1600" dirty="0">
              <a:solidFill>
                <a:srgbClr val="000000"/>
              </a:solidFill>
              <a:ea typeface="Verdana"/>
            </a:endParaRPr>
          </a:p>
          <a:p>
            <a:pPr marL="598805" lvl="1" indent="-285750" defTabSz="914377">
              <a:buClr>
                <a:srgbClr val="00689A"/>
              </a:buClr>
              <a:buSzPct val="80000"/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solidFill>
                  <a:srgbClr val="000000"/>
                </a:solidFill>
              </a:rPr>
              <a:t>Ener</a:t>
            </a:r>
            <a:r>
              <a:rPr lang="nl-NL" sz="1600" dirty="0">
                <a:ea typeface="Verdana"/>
              </a:rPr>
              <a:t>giewet richt zich primair op noodzakelijke wijziging van regelgeving </a:t>
            </a:r>
          </a:p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>
                <a:ea typeface="Verdana"/>
              </a:rPr>
              <a:t>Daarnaast Landelijk Actieprogramma Netcongestie </a:t>
            </a:r>
          </a:p>
          <a:p>
            <a:pPr lvl="1" indent="-315595" defTabSz="914377">
              <a:buClr>
                <a:srgbClr val="00689A"/>
              </a:buClr>
              <a:buFont typeface="Courier New,monospace" panose="05000000000000000000" pitchFamily="2" charset="2"/>
              <a:buChar char="o"/>
              <a:defRPr/>
            </a:pPr>
            <a:endParaRPr lang="nl-NL" sz="1600" dirty="0">
              <a:ea typeface="Verdana"/>
            </a:endParaRPr>
          </a:p>
          <a:p>
            <a:pPr marL="315595" indent="-315595" defTabSz="91437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r>
              <a:rPr lang="nl-NL" sz="1600" dirty="0">
                <a:ea typeface="Verdana"/>
              </a:rPr>
              <a:t>Rolverdeling ACM </a:t>
            </a: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EU-hof (2020): exclusieve rol ACM voor regels over aansluiten en transport en nettarieven </a:t>
            </a:r>
            <a:endParaRPr lang="nl-NL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EU-Hof: wetgever zeer terughoudend opstellen</a:t>
            </a:r>
            <a:endParaRPr lang="nl-NL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Energiewet is hier op aangepast </a:t>
            </a:r>
            <a:endParaRPr lang="nl-NL" sz="16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4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4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4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4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Verdana"/>
              <a:buAutoNum type="arabicPeriod"/>
              <a:defRPr/>
            </a:pPr>
            <a:endParaRPr lang="nl-NL" sz="12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667" u="sng" dirty="0">
              <a:solidFill>
                <a:srgbClr val="E17000"/>
              </a:solidFill>
              <a:ea typeface="Verdana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3494E34-DEA2-15A1-09EF-302E43390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78C76C-A706-497D-B573-CF00527FEA57}" type="slidenum">
              <a:rPr lang="nl-NL" altLang="nl-NL" smtClean="0"/>
              <a:pPr>
                <a:defRPr/>
              </a:pPr>
              <a:t>7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089859158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Titel 2">
            <a:extLst>
              <a:ext uri="{FF2B5EF4-FFF2-40B4-BE49-F238E27FC236}">
                <a16:creationId xmlns:a16="http://schemas.microsoft.com/office/drawing/2014/main" id="{3F87242E-9F96-292F-1620-D3FCF05AB6B7}"/>
              </a:ext>
            </a:extLst>
          </p:cNvPr>
          <p:cNvSpPr txBox="1">
            <a:spLocks/>
          </p:cNvSpPr>
          <p:nvPr/>
        </p:nvSpPr>
        <p:spPr bwMode="auto">
          <a:xfrm>
            <a:off x="503237" y="601663"/>
            <a:ext cx="11409129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628650" indent="-315913" defTabSz="912813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946150" indent="-315913" defTabSz="912813">
              <a:lnSpc>
                <a:spcPct val="90000"/>
              </a:lnSpc>
              <a:spcBef>
                <a:spcPts val="8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58888" indent="-315913" defTabSz="912813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76388" indent="-315913" defTabSz="912813">
              <a:lnSpc>
                <a:spcPct val="9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5pPr>
            <a:lvl6pPr marL="20335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6pPr>
            <a:lvl7pPr marL="24907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7pPr>
            <a:lvl8pPr marL="29479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8pPr>
            <a:lvl9pPr marL="34051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nl-NL" altLang="nl-NL" sz="3600" b="1" i="0" u="none" strike="noStrike" kern="1200" cap="none" spc="0" normalizeH="0" baseline="0" noProof="0" dirty="0">
                <a:ln>
                  <a:noFill/>
                </a:ln>
                <a:solidFill>
                  <a:srgbClr val="154273"/>
                </a:solidFill>
                <a:effectLst/>
                <a:uLnTx/>
                <a:uFillTx/>
                <a:latin typeface="RijksoverheidSansText" panose="020B0503040202060203" pitchFamily="34" charset="0"/>
                <a:ea typeface="+mn-ea"/>
                <a:cs typeface="Arial" panose="020B0604020202020204" pitchFamily="34" charset="0"/>
              </a:rPr>
              <a:t>Energiewet | energiedata: noodzaak &amp; kans (H4)</a:t>
            </a:r>
          </a:p>
        </p:txBody>
      </p:sp>
      <p:sp>
        <p:nvSpPr>
          <p:cNvPr id="25" name="Tijdelijke aanduiding voor inhoud 1">
            <a:extLst>
              <a:ext uri="{FF2B5EF4-FFF2-40B4-BE49-F238E27FC236}">
                <a16:creationId xmlns:a16="http://schemas.microsoft.com/office/drawing/2014/main" id="{82788E64-ABAF-40C0-794A-42C0126B60DD}"/>
              </a:ext>
            </a:extLst>
          </p:cNvPr>
          <p:cNvSpPr txBox="1">
            <a:spLocks/>
          </p:cNvSpPr>
          <p:nvPr/>
        </p:nvSpPr>
        <p:spPr>
          <a:xfrm>
            <a:off x="503238" y="2012921"/>
            <a:ext cx="5455110" cy="4345934"/>
          </a:xfrm>
          <a:prstGeom prst="rect">
            <a:avLst/>
          </a:prstGeom>
        </p:spPr>
        <p:txBody>
          <a:bodyPr lIns="91440" tIns="45720" rIns="91440" bIns="45720" spcCol="468000" anchor="t">
            <a:norm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srgbClr val="00689A"/>
              </a:buClr>
              <a:buNone/>
              <a:defRPr/>
            </a:pPr>
            <a:r>
              <a:rPr lang="nl-NL" sz="1500" b="1" dirty="0">
                <a:solidFill>
                  <a:srgbClr val="000000"/>
                </a:solidFill>
              </a:rPr>
              <a:t>Kernelementen &amp; nieuwe onderdelen</a:t>
            </a: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r>
              <a:rPr lang="nl-NL" sz="1600" dirty="0"/>
              <a:t>Er bestaat reeds een omvangrijk stelsel voor het meten, beheren en uitwisselen van energiedata (</a:t>
            </a:r>
            <a:r>
              <a:rPr lang="nl-NL" sz="1600" dirty="0" err="1"/>
              <a:t>oa</a:t>
            </a:r>
            <a:r>
              <a:rPr lang="nl-NL" sz="1600" dirty="0"/>
              <a:t> voor energierekening en overstappen)   </a:t>
            </a:r>
            <a:endParaRPr lang="nl-NL" sz="16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r>
              <a:rPr lang="nl-NL" sz="1600" dirty="0"/>
              <a:t>Belangrijkste nieuwe onderdelen:</a:t>
            </a:r>
            <a:endParaRPr lang="nl-NL" sz="1600" dirty="0">
              <a:ea typeface="Verdana"/>
            </a:endParaRPr>
          </a:p>
          <a:p>
            <a:pPr lvl="2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Logisch herordenen v/d meetketen </a:t>
            </a:r>
          </a:p>
          <a:p>
            <a:pPr lvl="2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Sterkere toepassing principe ‘data bij de bron’ (decentraal, via registerbeheerders)</a:t>
            </a:r>
          </a:p>
          <a:p>
            <a:pPr lvl="2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Dataprocessen: beter vastleggen van doelen, voorwaarden en actoren </a:t>
            </a:r>
          </a:p>
          <a:p>
            <a:pPr lvl="2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Eenvoudiger ‘datadelen met derden’ (op verzoek)</a:t>
            </a:r>
          </a:p>
          <a:p>
            <a:pPr lvl="2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Introductie ‘gegevensuitwisselingsentiteit’</a:t>
            </a:r>
          </a:p>
          <a:p>
            <a:pPr marL="655955" lvl="1" indent="-342900" defTabSz="914377">
              <a:buClr>
                <a:srgbClr val="00689A"/>
              </a:buClr>
              <a:buFont typeface="+mj-lt"/>
              <a:buAutoNum type="arabicPeriod"/>
              <a:defRPr/>
            </a:pPr>
            <a:endParaRPr lang="nl-NL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+mj-lt"/>
              <a:buAutoNum type="arabicPeriod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900" dirty="0">
              <a:ea typeface="Verdana"/>
            </a:endParaRPr>
          </a:p>
          <a:p>
            <a:pPr marL="0" indent="0" defTabSz="914377">
              <a:buClr>
                <a:srgbClr val="00689A"/>
              </a:buClr>
              <a:buNone/>
              <a:defRPr/>
            </a:pPr>
            <a:endParaRPr lang="nl-NL" sz="1300" dirty="0"/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1507" dirty="0">
              <a:ea typeface="Verdana"/>
            </a:endParaRPr>
          </a:p>
          <a:p>
            <a:pPr marL="0" indent="0" defTabSz="914377">
              <a:buClr>
                <a:srgbClr val="00689A"/>
              </a:buClr>
              <a:buFont typeface="Verdana" panose="020B0604030504040204" pitchFamily="34" charset="0"/>
              <a:buNone/>
              <a:defRPr/>
            </a:pPr>
            <a:endParaRPr lang="nl-NL" sz="1507" dirty="0"/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667" u="sng" dirty="0">
              <a:solidFill>
                <a:schemeClr val="accent6"/>
              </a:solidFill>
              <a:ea typeface="Verdana"/>
            </a:endParaRPr>
          </a:p>
        </p:txBody>
      </p:sp>
      <p:sp>
        <p:nvSpPr>
          <p:cNvPr id="28" name="Tijdelijke aanduiding voor inhoud 1">
            <a:extLst>
              <a:ext uri="{FF2B5EF4-FFF2-40B4-BE49-F238E27FC236}">
                <a16:creationId xmlns:a16="http://schemas.microsoft.com/office/drawing/2014/main" id="{5333311D-5986-D117-E0EE-EE6C6DC0219F}"/>
              </a:ext>
            </a:extLst>
          </p:cNvPr>
          <p:cNvSpPr txBox="1">
            <a:spLocks/>
          </p:cNvSpPr>
          <p:nvPr/>
        </p:nvSpPr>
        <p:spPr>
          <a:xfrm>
            <a:off x="6580980" y="2010082"/>
            <a:ext cx="5506798" cy="4595664"/>
          </a:xfrm>
          <a:prstGeom prst="rect">
            <a:avLst/>
          </a:prstGeom>
        </p:spPr>
        <p:txBody>
          <a:bodyPr lIns="91440" tIns="45720" rIns="91440" bIns="45720" spcCol="468000" anchor="t">
            <a:norm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8805" lvl="1" indent="-285750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Gegevensuitwisselingsentiteit</a:t>
            </a:r>
            <a:r>
              <a:rPr lang="nl-NL" sz="1800" dirty="0"/>
              <a:t>:</a:t>
            </a:r>
          </a:p>
          <a:p>
            <a:pPr marL="916305" lvl="2" indent="-285750" defTabSz="914377">
              <a:buClr>
                <a:srgbClr val="00689A"/>
              </a:buClr>
              <a:buFont typeface="Arial" panose="020B0604020202020204" pitchFamily="34" charset="0"/>
              <a:buChar char="•"/>
              <a:defRPr/>
            </a:pPr>
            <a:r>
              <a:rPr lang="nl-NL" sz="1600" dirty="0"/>
              <a:t>Aparte rechtspersoon (eigendom TSB’s/DSB’s)</a:t>
            </a:r>
            <a:endParaRPr lang="nl-NL" sz="1600" dirty="0">
              <a:ea typeface="Verdana"/>
            </a:endParaRPr>
          </a:p>
          <a:p>
            <a:pPr marL="916305" lvl="2" indent="-285750" defTabSz="914377">
              <a:buClr>
                <a:srgbClr val="00689A"/>
              </a:buClr>
              <a:buFont typeface="Arial" panose="020B0604020202020204" pitchFamily="34" charset="0"/>
              <a:buChar char="•"/>
              <a:defRPr/>
            </a:pPr>
            <a:r>
              <a:rPr lang="nl-NL" sz="1600" dirty="0"/>
              <a:t>Kerntaak: faciliteren elektronische data-uitwisseling binnen het hele systeem </a:t>
            </a:r>
            <a:endParaRPr lang="nl-NL" sz="1600" dirty="0">
              <a:ea typeface="Verdana"/>
            </a:endParaRPr>
          </a:p>
          <a:p>
            <a:pPr marL="916305" lvl="2" indent="-285750" defTabSz="914377">
              <a:buClr>
                <a:srgbClr val="00689A"/>
              </a:buClr>
              <a:buFont typeface="Arial" panose="020B0604020202020204" pitchFamily="34" charset="0"/>
              <a:buChar char="•"/>
              <a:defRPr/>
            </a:pPr>
            <a:r>
              <a:rPr lang="nl-NL" sz="1600" dirty="0"/>
              <a:t>Voorschriften t.a.v. transparantie, identificatie, beveiliging en bescherming. </a:t>
            </a:r>
            <a:endParaRPr lang="nl-NL" sz="1600" dirty="0">
              <a:ea typeface="Verdana"/>
            </a:endParaRPr>
          </a:p>
          <a:p>
            <a:pPr marL="916305" lvl="2" indent="-285750" defTabSz="914377">
              <a:buClr>
                <a:srgbClr val="00689A"/>
              </a:buClr>
              <a:buFont typeface="Arial" panose="020B0604020202020204" pitchFamily="34" charset="0"/>
              <a:buChar char="•"/>
              <a:defRPr/>
            </a:pPr>
            <a:r>
              <a:rPr lang="nl-NL" sz="1600" dirty="0"/>
              <a:t>Geen beheer van ‘centrale data’ </a:t>
            </a:r>
            <a:endParaRPr lang="nl-NL" sz="1600" dirty="0">
              <a:ea typeface="Verdana"/>
            </a:endParaRPr>
          </a:p>
          <a:p>
            <a:pPr lvl="2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endParaRPr lang="nl-NL" sz="16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,Sans-Serif" panose="02070309020205020404" pitchFamily="49" charset="0"/>
              <a:buChar char="ü"/>
              <a:defRPr/>
            </a:pPr>
            <a:r>
              <a:rPr lang="nl-NL" sz="1600" dirty="0">
                <a:ea typeface="Verdana"/>
              </a:rPr>
              <a:t>Meer tijd nodig voor uitvoering </a:t>
            </a:r>
          </a:p>
          <a:p>
            <a:pPr lvl="2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dus latere inwerkingtreding </a:t>
            </a:r>
          </a:p>
          <a:p>
            <a:pPr lvl="2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daarom 2e </a:t>
            </a:r>
            <a:r>
              <a:rPr lang="nl-NL" sz="1600" dirty="0" err="1"/>
              <a:t>NvW</a:t>
            </a:r>
            <a:r>
              <a:rPr lang="nl-NL" sz="1600" dirty="0"/>
              <a:t> met tijdelijke voortzetting huidige regime, met extra de inzet </a:t>
            </a:r>
            <a:r>
              <a:rPr lang="nl-NL" sz="1600" dirty="0" err="1"/>
              <a:t>DigiD</a:t>
            </a:r>
            <a:r>
              <a:rPr lang="nl-NL" sz="1600" dirty="0"/>
              <a:t> voor identificatie. </a:t>
            </a:r>
          </a:p>
          <a:p>
            <a:pPr lvl="2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2e NvW begin april. </a:t>
            </a:r>
          </a:p>
          <a:p>
            <a:pPr marL="312420" lvl="1" indent="0" defTabSz="914377">
              <a:buClr>
                <a:srgbClr val="00689A"/>
              </a:buClr>
              <a:buNone/>
              <a:defRPr/>
            </a:pPr>
            <a:endParaRPr lang="nl-NL" sz="5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4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4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4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+mj-lt"/>
              <a:buAutoNum type="arabicPeriod"/>
              <a:defRPr/>
            </a:pPr>
            <a:endParaRPr lang="nl-NL" sz="12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667" u="sng" dirty="0">
              <a:solidFill>
                <a:schemeClr val="accent6"/>
              </a:solidFill>
              <a:ea typeface="Verdana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3494E34-DEA2-15A1-09EF-302E43390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78C76C-A706-497D-B573-CF00527FEA57}" type="slidenum">
              <a:rPr lang="nl-NL" altLang="nl-NL" smtClean="0"/>
              <a:pPr>
                <a:defRPr/>
              </a:pPr>
              <a:t>8</a:t>
            </a:fld>
            <a:endParaRPr lang="nl-NL" altLang="nl-NL" dirty="0"/>
          </a:p>
        </p:txBody>
      </p:sp>
    </p:spTree>
    <p:extLst>
      <p:ext uri="{BB962C8B-B14F-4D97-AF65-F5344CB8AC3E}">
        <p14:creationId xmlns:p14="http://schemas.microsoft.com/office/powerpoint/2010/main" val="1943144463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Titel 2">
            <a:extLst>
              <a:ext uri="{FF2B5EF4-FFF2-40B4-BE49-F238E27FC236}">
                <a16:creationId xmlns:a16="http://schemas.microsoft.com/office/drawing/2014/main" id="{3F87242E-9F96-292F-1620-D3FCF05AB6B7}"/>
              </a:ext>
            </a:extLst>
          </p:cNvPr>
          <p:cNvSpPr txBox="1">
            <a:spLocks/>
          </p:cNvSpPr>
          <p:nvPr/>
        </p:nvSpPr>
        <p:spPr bwMode="auto">
          <a:xfrm>
            <a:off x="503237" y="601663"/>
            <a:ext cx="11409129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b"/>
          <a:lstStyle>
            <a:lvl1pPr defTabSz="912813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628650" indent="-315913" defTabSz="912813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946150" indent="-315913" defTabSz="912813">
              <a:lnSpc>
                <a:spcPct val="90000"/>
              </a:lnSpc>
              <a:spcBef>
                <a:spcPts val="8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58888" indent="-315913" defTabSz="912813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76388" indent="-315913" defTabSz="912813">
              <a:lnSpc>
                <a:spcPct val="9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5pPr>
            <a:lvl6pPr marL="20335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6pPr>
            <a:lvl7pPr marL="24907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7pPr>
            <a:lvl8pPr marL="29479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8pPr>
            <a:lvl9pPr marL="3405188" indent="-315913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kumimoji="0" lang="nl-NL" altLang="nl-NL" sz="3600" b="1" i="0" u="none" strike="noStrike" kern="1200" cap="none" spc="0" normalizeH="0" baseline="0" noProof="0" dirty="0">
                <a:ln>
                  <a:noFill/>
                </a:ln>
                <a:solidFill>
                  <a:srgbClr val="154273"/>
                </a:solidFill>
                <a:effectLst/>
                <a:uLnTx/>
                <a:uFillTx/>
                <a:latin typeface="RijksoverheidSansText"/>
                <a:cs typeface="Arial"/>
              </a:rPr>
              <a:t>Energiewet |</a:t>
            </a:r>
            <a:r>
              <a:rPr lang="nl-NL" altLang="nl-NL" sz="3600" b="1" dirty="0">
                <a:solidFill>
                  <a:srgbClr val="154273"/>
                </a:solidFill>
                <a:latin typeface="RijksoverheidSansText"/>
                <a:cs typeface="Arial"/>
              </a:rPr>
              <a:t> toekomstige aanvullingen</a:t>
            </a:r>
            <a:endParaRPr lang="nl-NL" altLang="nl-NL" sz="3600" b="1" i="0" u="none" strike="noStrike" kern="1200" cap="none" spc="0" normalizeH="0" baseline="0" noProof="0" dirty="0">
              <a:ln>
                <a:noFill/>
              </a:ln>
              <a:solidFill>
                <a:srgbClr val="154273"/>
              </a:solidFill>
              <a:effectLst/>
              <a:highlight>
                <a:srgbClr val="00FF00"/>
              </a:highlight>
              <a:uLnTx/>
              <a:uFillTx/>
              <a:latin typeface="RijksoverheidSansText"/>
              <a:cs typeface="Arial"/>
            </a:endParaRPr>
          </a:p>
        </p:txBody>
      </p:sp>
      <p:sp>
        <p:nvSpPr>
          <p:cNvPr id="25" name="Tijdelijke aanduiding voor inhoud 1">
            <a:extLst>
              <a:ext uri="{FF2B5EF4-FFF2-40B4-BE49-F238E27FC236}">
                <a16:creationId xmlns:a16="http://schemas.microsoft.com/office/drawing/2014/main" id="{82788E64-ABAF-40C0-794A-42C0126B60DD}"/>
              </a:ext>
            </a:extLst>
          </p:cNvPr>
          <p:cNvSpPr txBox="1">
            <a:spLocks/>
          </p:cNvSpPr>
          <p:nvPr/>
        </p:nvSpPr>
        <p:spPr>
          <a:xfrm>
            <a:off x="446088" y="1854171"/>
            <a:ext cx="5690060" cy="4472934"/>
          </a:xfrm>
          <a:prstGeom prst="rect">
            <a:avLst/>
          </a:prstGeom>
        </p:spPr>
        <p:txBody>
          <a:bodyPr lIns="91440" tIns="45720" rIns="91440" bIns="45720" spcCol="468000" anchor="t">
            <a:norm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r>
              <a:rPr lang="nl-NL" sz="1600" dirty="0"/>
              <a:t>Waterstof: implementatie Decarbonisatiepakket</a:t>
            </a:r>
            <a:endParaRPr lang="nl-NL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Waterstof, groen gas en fossiel gas </a:t>
            </a: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Brede herziening ordeningskader </a:t>
            </a: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Publicatie definitieve Europese tekst later deze maand</a:t>
            </a:r>
            <a:endParaRPr lang="nl-NL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start apart implementatietraject (24 maanden) </a:t>
            </a:r>
            <a:endParaRPr lang="nl-NL" sz="16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,Sans-Serif" panose="05000000000000000000" pitchFamily="2" charset="2"/>
              <a:buChar char="ü"/>
              <a:defRPr/>
            </a:pPr>
            <a:r>
              <a:rPr lang="nl-NL" sz="1600" dirty="0">
                <a:ea typeface="Verdana"/>
              </a:rPr>
              <a:t>Implementatie ‘Electricity Market Design’ (EMD)</a:t>
            </a: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o.a. energiedelen</a:t>
            </a: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Publicatie definitieve Europese tekst later deze maand</a:t>
            </a:r>
            <a:endParaRPr lang="en-US" sz="1600" dirty="0"/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start apart implementatietraject (6 maanden, voor energiedelen 24 maanden)</a:t>
            </a:r>
          </a:p>
          <a:p>
            <a:pPr lvl="1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900" dirty="0">
              <a:ea typeface="Verdana"/>
            </a:endParaRPr>
          </a:p>
          <a:p>
            <a:pPr marL="0" indent="0" defTabSz="914377">
              <a:buClr>
                <a:srgbClr val="00689A"/>
              </a:buClr>
              <a:buNone/>
              <a:defRPr/>
            </a:pPr>
            <a:endParaRPr lang="nl-NL" sz="1300" dirty="0"/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1507" dirty="0">
              <a:ea typeface="Verdana"/>
            </a:endParaRPr>
          </a:p>
          <a:p>
            <a:pPr marL="0" indent="0" defTabSz="914377">
              <a:buClr>
                <a:srgbClr val="00689A"/>
              </a:buClr>
              <a:buFont typeface="Verdana" panose="020B0604030504040204" pitchFamily="34" charset="0"/>
              <a:buNone/>
              <a:defRPr/>
            </a:pPr>
            <a:endParaRPr lang="nl-NL" sz="1507" dirty="0"/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667" u="sng" dirty="0">
              <a:solidFill>
                <a:schemeClr val="accent6"/>
              </a:solidFill>
              <a:ea typeface="Verdana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3494E34-DEA2-15A1-09EF-302E43390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78C76C-A706-497D-B573-CF00527FEA57}" type="slidenum">
              <a:rPr lang="nl-NL" altLang="nl-NL" smtClean="0"/>
              <a:pPr>
                <a:defRPr/>
              </a:pPr>
              <a:t>9</a:t>
            </a:fld>
            <a:endParaRPr lang="nl-NL" altLang="nl-NL"/>
          </a:p>
        </p:txBody>
      </p:sp>
      <p:sp>
        <p:nvSpPr>
          <p:cNvPr id="3" name="Tijdelijke aanduiding voor inhoud 1">
            <a:extLst>
              <a:ext uri="{FF2B5EF4-FFF2-40B4-BE49-F238E27FC236}">
                <a16:creationId xmlns:a16="http://schemas.microsoft.com/office/drawing/2014/main" id="{C0316F5C-F69D-0182-A8F0-ED2C6B8D5BFF}"/>
              </a:ext>
            </a:extLst>
          </p:cNvPr>
          <p:cNvSpPr txBox="1">
            <a:spLocks/>
          </p:cNvSpPr>
          <p:nvPr/>
        </p:nvSpPr>
        <p:spPr>
          <a:xfrm>
            <a:off x="6444556" y="1851553"/>
            <a:ext cx="5187607" cy="4879334"/>
          </a:xfrm>
          <a:prstGeom prst="rect">
            <a:avLst/>
          </a:prstGeom>
        </p:spPr>
        <p:txBody>
          <a:bodyPr lIns="91440" tIns="45720" rIns="91440" bIns="45720" spcCol="468000" anchor="t">
            <a:normAutofit/>
          </a:bodyPr>
          <a:lstStyle>
            <a:lvl1pPr marL="315913" indent="-315913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Verdana" panose="020B0604030504040204" pitchFamily="34" charset="0"/>
              <a:buChar char="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315913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150" indent="-315913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88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76388" indent="-315913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Verdana" panose="020B060403050404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90000" indent="-316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2000" indent="-72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25000"/>
              <a:buFont typeface="Verdana" panose="020B0604030504040204" pitchFamily="34" charset="0"/>
              <a:buChar char=" 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6000" indent="-14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–"/>
              <a:defRPr sz="120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r>
              <a:rPr lang="nl-NL" sz="1600" dirty="0"/>
              <a:t>Lopende implementatietrajecten:  </a:t>
            </a:r>
            <a:endParaRPr lang="en-US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RED-III (Richtlijn hernieuwbare energie)</a:t>
            </a:r>
            <a:endParaRPr lang="nl-NL" sz="16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Courier New" panose="02070309020205020404" pitchFamily="49" charset="0"/>
              <a:buChar char="o"/>
              <a:defRPr/>
            </a:pPr>
            <a:r>
              <a:rPr lang="nl-NL" sz="1600" dirty="0"/>
              <a:t>EED (Richtlijn energie-efficiëntie)</a:t>
            </a:r>
            <a:endParaRPr lang="nl-NL" sz="1600" dirty="0">
              <a:ea typeface="Verdana"/>
            </a:endParaRPr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1300" dirty="0">
              <a:ea typeface="Verdana"/>
            </a:endParaRPr>
          </a:p>
          <a:p>
            <a:pPr lvl="1" indent="-315595" defTabSz="914377">
              <a:buClr>
                <a:srgbClr val="00689A"/>
              </a:buClr>
              <a:buFont typeface="Wingdings" panose="05000000000000000000" pitchFamily="2" charset="2"/>
              <a:buChar char="ü"/>
              <a:defRPr/>
            </a:pPr>
            <a:endParaRPr lang="nl-NL" sz="900" dirty="0">
              <a:ea typeface="Verdana"/>
            </a:endParaRPr>
          </a:p>
          <a:p>
            <a:pPr marL="0" indent="0" defTabSz="914377">
              <a:buClr>
                <a:srgbClr val="00689A"/>
              </a:buClr>
              <a:buNone/>
              <a:defRPr/>
            </a:pPr>
            <a:endParaRPr lang="nl-NL" sz="1300" dirty="0"/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1507" dirty="0">
              <a:ea typeface="Verdana"/>
            </a:endParaRPr>
          </a:p>
          <a:p>
            <a:pPr marL="0" indent="0" defTabSz="914377">
              <a:buClr>
                <a:srgbClr val="00689A"/>
              </a:buClr>
              <a:buFont typeface="Verdana" panose="020B0604030504040204" pitchFamily="34" charset="0"/>
              <a:buNone/>
              <a:defRPr/>
            </a:pPr>
            <a:endParaRPr lang="nl-NL" sz="1507" dirty="0"/>
          </a:p>
          <a:p>
            <a:pPr marL="315595" indent="-315595" defTabSz="914377">
              <a:buClr>
                <a:srgbClr val="00689A"/>
              </a:buClr>
              <a:buFont typeface="Wingdings" panose="05000000000000000000" pitchFamily="2" charset="2"/>
              <a:buChar char="Ø"/>
              <a:defRPr/>
            </a:pPr>
            <a:endParaRPr lang="nl-NL" sz="667" u="sng" dirty="0">
              <a:solidFill>
                <a:schemeClr val="accent6"/>
              </a:solidFill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6999084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ijkshuisstijl Violet">
  <a:themeElements>
    <a:clrScheme name="Rijks Donkerblauw">
      <a:dk1>
        <a:srgbClr val="000000"/>
      </a:dk1>
      <a:lt1>
        <a:srgbClr val="FFFFFF"/>
      </a:lt1>
      <a:dk2>
        <a:srgbClr val="00689A"/>
      </a:dk2>
      <a:lt2>
        <a:srgbClr val="E4EFF9"/>
      </a:lt2>
      <a:accent1>
        <a:srgbClr val="F092CD"/>
      </a:accent1>
      <a:accent2>
        <a:srgbClr val="F9E11E"/>
      </a:accent2>
      <a:accent3>
        <a:srgbClr val="FFB612"/>
      </a:accent3>
      <a:accent4>
        <a:srgbClr val="017BC6"/>
      </a:accent4>
      <a:accent5>
        <a:srgbClr val="75D1B5"/>
      </a:accent5>
      <a:accent6>
        <a:srgbClr val="E17000"/>
      </a:accent6>
      <a:hlink>
        <a:srgbClr val="00689A"/>
      </a:hlink>
      <a:folHlink>
        <a:srgbClr val="CCDFF0"/>
      </a:folHlink>
    </a:clrScheme>
    <a:fontScheme name="Rijkshuisstij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2" id="{EA1A91CE-7E57-F145-BE42-7B070EEBBDDB}" vid="{6C36E585-6285-7A49-8DF5-BEF47E7226A4}"/>
    </a:ext>
  </a:extLst>
</a:theme>
</file>

<file path=ppt/theme/theme2.xml><?xml version="1.0" encoding="utf-8"?>
<a:theme xmlns:a="http://schemas.openxmlformats.org/drawingml/2006/main" name="2_Rijkshuisstijl Violet">
  <a:themeElements>
    <a:clrScheme name="Rijks Donkerblauw">
      <a:dk1>
        <a:srgbClr val="000000"/>
      </a:dk1>
      <a:lt1>
        <a:srgbClr val="FFFFFF"/>
      </a:lt1>
      <a:dk2>
        <a:srgbClr val="00689A"/>
      </a:dk2>
      <a:lt2>
        <a:srgbClr val="E4EFF9"/>
      </a:lt2>
      <a:accent1>
        <a:srgbClr val="F092CD"/>
      </a:accent1>
      <a:accent2>
        <a:srgbClr val="F9E11E"/>
      </a:accent2>
      <a:accent3>
        <a:srgbClr val="FFB612"/>
      </a:accent3>
      <a:accent4>
        <a:srgbClr val="017BC6"/>
      </a:accent4>
      <a:accent5>
        <a:srgbClr val="75D1B5"/>
      </a:accent5>
      <a:accent6>
        <a:srgbClr val="E17000"/>
      </a:accent6>
      <a:hlink>
        <a:srgbClr val="00689A"/>
      </a:hlink>
      <a:folHlink>
        <a:srgbClr val="CCDFF0"/>
      </a:folHlink>
    </a:clrScheme>
    <a:fontScheme name="Rijkshuisstij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2" id="{EA1A91CE-7E57-F145-BE42-7B070EEBBDDB}" vid="{6C36E585-6285-7A49-8DF5-BEF47E7226A4}"/>
    </a:ext>
  </a:extLst>
</a:theme>
</file>

<file path=ppt/theme/theme3.xml><?xml version="1.0" encoding="utf-8"?>
<a:theme xmlns:a="http://schemas.openxmlformats.org/drawingml/2006/main" name="4_Rijkshuisstijl Violet">
  <a:themeElements>
    <a:clrScheme name="Rijks Donkerblauw">
      <a:dk1>
        <a:srgbClr val="000000"/>
      </a:dk1>
      <a:lt1>
        <a:srgbClr val="FFFFFF"/>
      </a:lt1>
      <a:dk2>
        <a:srgbClr val="00689A"/>
      </a:dk2>
      <a:lt2>
        <a:srgbClr val="E4EFF9"/>
      </a:lt2>
      <a:accent1>
        <a:srgbClr val="F092CD"/>
      </a:accent1>
      <a:accent2>
        <a:srgbClr val="F9E11E"/>
      </a:accent2>
      <a:accent3>
        <a:srgbClr val="FFB612"/>
      </a:accent3>
      <a:accent4>
        <a:srgbClr val="017BC6"/>
      </a:accent4>
      <a:accent5>
        <a:srgbClr val="75D1B5"/>
      </a:accent5>
      <a:accent6>
        <a:srgbClr val="E17000"/>
      </a:accent6>
      <a:hlink>
        <a:srgbClr val="00689A"/>
      </a:hlink>
      <a:folHlink>
        <a:srgbClr val="CCDFF0"/>
      </a:folHlink>
    </a:clrScheme>
    <a:fontScheme name="Rijkshuisstij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2" id="{EA1A91CE-7E57-F145-BE42-7B070EEBBDDB}" vid="{6C36E585-6285-7A49-8DF5-BEF47E7226A4}"/>
    </a:ext>
  </a:extLst>
</a:theme>
</file>

<file path=ppt/theme/theme4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10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11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12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13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14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15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16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17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18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19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2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20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21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3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4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5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6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7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8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ppt/theme/themeOverride9.xml><?xml version="1.0" encoding="utf-8"?>
<a:themeOverride xmlns:a="http://schemas.openxmlformats.org/drawingml/2006/main">
  <a:clrScheme name="Rijks Donkerblauw">
    <a:dk1>
      <a:srgbClr val="000000"/>
    </a:dk1>
    <a:lt1>
      <a:srgbClr val="FFFFFF"/>
    </a:lt1>
    <a:dk2>
      <a:srgbClr val="00689A"/>
    </a:dk2>
    <a:lt2>
      <a:srgbClr val="E4EFF9"/>
    </a:lt2>
    <a:accent1>
      <a:srgbClr val="F092CD"/>
    </a:accent1>
    <a:accent2>
      <a:srgbClr val="F9E11E"/>
    </a:accent2>
    <a:accent3>
      <a:srgbClr val="FFB612"/>
    </a:accent3>
    <a:accent4>
      <a:srgbClr val="017BC6"/>
    </a:accent4>
    <a:accent5>
      <a:srgbClr val="75D1B5"/>
    </a:accent5>
    <a:accent6>
      <a:srgbClr val="E17000"/>
    </a:accent6>
    <a:hlink>
      <a:srgbClr val="00689A"/>
    </a:hlink>
    <a:folHlink>
      <a:srgbClr val="CCDFF0"/>
    </a:folHlink>
  </a:clrScheme>
</a:themeOverride>
</file>

<file path=docMetadata/LabelInfo.xml><?xml version="1.0" encoding="utf-8"?>
<clbl:labelList xmlns:clbl="http://schemas.microsoft.com/office/2020/mipLabelMetadata">
  <clbl:label id="{acd88dc2-102c-473d-aa45-6161565a3617}" enabled="1" method="Standard" siteId="{1321633e-f6b9-44e2-a44f-59b9d264ecb7}" removed="0"/>
</clbl:labelList>
</file>

<file path=docProps/app.xml><?xml version="1.0" encoding="utf-8"?>
<ap:Properties xmlns:vt="http://schemas.openxmlformats.org/officeDocument/2006/docPropsVTypes" xmlns:ap="http://schemas.openxmlformats.org/officeDocument/2006/extended-properties">
  <ap:Words>1019</ap:Words>
  <ap:PresentationFormat>Breedbeeld</ap:PresentationFormat>
  <ap:Paragraphs>261</ap:Paragraphs>
  <ap:Slides>9</ap:Slides>
  <ap:HiddenSlides>0</ap:HiddenSlides>
  <ap:MMClips>0</ap:MMClips>
  <ap:ScaleCrop>false</ap:ScaleCrop>
  <ap:HeadingPairs>
    <vt:vector baseType="variant" size="8">
      <vt:variant>
        <vt:lpstr>Gebruikte lettertypen</vt:lpstr>
      </vt:variant>
      <vt:variant>
        <vt:i4>8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9</vt:i4>
      </vt:variant>
    </vt:vector>
  </ap:HeadingPairs>
  <ap:TitlesOfParts>
    <vt:vector baseType="lpstr" size="21">
      <vt:lpstr>Arial</vt:lpstr>
      <vt:lpstr>Calibri</vt:lpstr>
      <vt:lpstr>Courier New</vt:lpstr>
      <vt:lpstr>Courier New,monospace</vt:lpstr>
      <vt:lpstr>RijksoverheidSansText</vt:lpstr>
      <vt:lpstr>Verdana</vt:lpstr>
      <vt:lpstr>Wingdings</vt:lpstr>
      <vt:lpstr>Wingdings,Sans-Serif</vt:lpstr>
      <vt:lpstr>Rijkshuisstijl Violet</vt:lpstr>
      <vt:lpstr>2_Rijkshuisstijl Violet</vt:lpstr>
      <vt:lpstr>4_Rijkshuisstijl Violet</vt:lpstr>
      <vt:lpstr>think-cell Slide</vt:lpstr>
      <vt:lpstr>Energiewet – technische briefing   Commissie Economische Zaken &amp; Klimaat 21 maart 2024 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ap:TitlesOfParts>
  <ap:LinksUpToDate>false</ap:LinksUpToDate>
  <ap:SharedDoc>false</ap:SharedDoc>
</ap:Properties>
</file>

<file path=docProps/core.xml><?xml version="1.0" encoding="utf-8"?>
<coreProperties xmlns:dc="http://purl.org/dc/elements/1.1/" xmlns:dcterms="http://purl.org/dc/terms/" xmlns:xsi="http://www.w3.org/2001/XMLSchema-instance" xmlns="http://schemas.openxmlformats.org/package/2006/metadata/core-properties">
  <dc:title/>
  <dc:creator/>
  <lastModifiedBy/>
  <revision/>
  <lastPrinted>2023-09-05T12:58:35.0000000Z</lastPrinted>
  <dcterms:created xsi:type="dcterms:W3CDTF">2023-08-22T12:30:51.0000000Z</dcterms:created>
  <dcterms:modified xsi:type="dcterms:W3CDTF">2024-03-21T10:45:23.0000000Z</dcterms:modified>
  <dc:description/>
  <dc:subject/>
  <keywords/>
  <version/>
  <category>------------------------</category>
</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Rijkshuisstijl Violet:4</vt:lpwstr>
  </property>
  <property fmtid="{D5CDD505-2E9C-101B-9397-08002B2CF9AE}" pid="3" name="ClassificationContentMarkingFooterText">
    <vt:lpwstr>Intern gebruik</vt:lpwstr>
  </property>
  <property fmtid="{D5CDD505-2E9C-101B-9397-08002B2CF9AE}" pid="4" name="ContentTypeId">
    <vt:lpwstr>0x010100E45923377886B54F9F933861B8D52EBF</vt:lpwstr>
  </property>
</Properties>
</file>